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73" r:id="rId4"/>
  </p:sldMasterIdLst>
  <p:notesMasterIdLst>
    <p:notesMasterId r:id="rId54"/>
  </p:notesMasterIdLst>
  <p:handoutMasterIdLst>
    <p:handoutMasterId r:id="rId55"/>
  </p:handoutMasterIdLst>
  <p:sldIdLst>
    <p:sldId id="2145706637" r:id="rId5"/>
    <p:sldId id="2145706642" r:id="rId6"/>
    <p:sldId id="1033" r:id="rId7"/>
    <p:sldId id="2145706661" r:id="rId8"/>
    <p:sldId id="2145706662" r:id="rId9"/>
    <p:sldId id="2145706668" r:id="rId10"/>
    <p:sldId id="2145706669" r:id="rId11"/>
    <p:sldId id="2145706663" r:id="rId12"/>
    <p:sldId id="2145706650" r:id="rId13"/>
    <p:sldId id="2145706651" r:id="rId14"/>
    <p:sldId id="2145706652" r:id="rId15"/>
    <p:sldId id="2145706653" r:id="rId16"/>
    <p:sldId id="2145706654" r:id="rId17"/>
    <p:sldId id="2145706670" r:id="rId18"/>
    <p:sldId id="2145706703" r:id="rId19"/>
    <p:sldId id="2145706688" r:id="rId20"/>
    <p:sldId id="2145706674" r:id="rId21"/>
    <p:sldId id="2145706675" r:id="rId22"/>
    <p:sldId id="2145706676" r:id="rId23"/>
    <p:sldId id="2145706677" r:id="rId24"/>
    <p:sldId id="2145706704" r:id="rId25"/>
    <p:sldId id="2145706678" r:id="rId26"/>
    <p:sldId id="2145706689" r:id="rId27"/>
    <p:sldId id="2145706679" r:id="rId28"/>
    <p:sldId id="2145706680" r:id="rId29"/>
    <p:sldId id="2145706681" r:id="rId30"/>
    <p:sldId id="2145706682" r:id="rId31"/>
    <p:sldId id="2145706705" r:id="rId32"/>
    <p:sldId id="2145706683" r:id="rId33"/>
    <p:sldId id="2145706684" r:id="rId34"/>
    <p:sldId id="2145706685" r:id="rId35"/>
    <p:sldId id="2145706686" r:id="rId36"/>
    <p:sldId id="2145706687" r:id="rId37"/>
    <p:sldId id="2145706690" r:id="rId38"/>
    <p:sldId id="2145706691" r:id="rId39"/>
    <p:sldId id="2145706692" r:id="rId40"/>
    <p:sldId id="2145706693" r:id="rId41"/>
    <p:sldId id="2145706694" r:id="rId42"/>
    <p:sldId id="2145706695" r:id="rId43"/>
    <p:sldId id="2145706696" r:id="rId44"/>
    <p:sldId id="2145706697" r:id="rId45"/>
    <p:sldId id="2145706698" r:id="rId46"/>
    <p:sldId id="2145706699" r:id="rId47"/>
    <p:sldId id="2145706700" r:id="rId48"/>
    <p:sldId id="2145706702" r:id="rId49"/>
    <p:sldId id="2145706701" r:id="rId50"/>
    <p:sldId id="2145706706" r:id="rId51"/>
    <p:sldId id="2145706665" r:id="rId52"/>
    <p:sldId id="2145706666" r:id="rId53"/>
  </p:sldIdLst>
  <p:sldSz cx="12192000" cy="6858000"/>
  <p:notesSz cx="6858000" cy="9144000"/>
  <p:custDataLst>
    <p:tags r:id="rId5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Layouts" id="{488E0A91-8EC8-4254-9B9D-B822E7B72AE5}">
          <p14:sldIdLst>
            <p14:sldId id="2145706637"/>
            <p14:sldId id="2145706642"/>
          </p14:sldIdLst>
        </p14:section>
        <p14:section name="01 Executive Summary" id="{40C38458-3B6B-447C-8E2F-CA87C9771756}">
          <p14:sldIdLst>
            <p14:sldId id="1033"/>
          </p14:sldIdLst>
        </p14:section>
        <p14:section name="02 Introduction" id="{DD3E096C-4BB7-468B-A8F9-D8CE7C111367}">
          <p14:sldIdLst>
            <p14:sldId id="2145706661"/>
          </p14:sldIdLst>
        </p14:section>
        <p14:section name="03 Methodology" id="{C297DFD6-C800-4BD1-8587-0C3AA048A953}">
          <p14:sldIdLst>
            <p14:sldId id="2145706662"/>
            <p14:sldId id="2145706668"/>
            <p14:sldId id="2145706669"/>
            <p14:sldId id="2145706663"/>
            <p14:sldId id="2145706650"/>
            <p14:sldId id="2145706651"/>
            <p14:sldId id="2145706652"/>
            <p14:sldId id="2145706653"/>
            <p14:sldId id="2145706654"/>
            <p14:sldId id="2145706670"/>
          </p14:sldIdLst>
        </p14:section>
        <p14:section name="04 Results" id="{7EB43C17-7B95-40CC-B07E-ACE53397B75A}">
          <p14:sldIdLst>
            <p14:sldId id="2145706703"/>
            <p14:sldId id="2145706688"/>
            <p14:sldId id="2145706674"/>
            <p14:sldId id="2145706675"/>
            <p14:sldId id="2145706676"/>
            <p14:sldId id="2145706677"/>
            <p14:sldId id="2145706704"/>
            <p14:sldId id="2145706678"/>
            <p14:sldId id="2145706689"/>
            <p14:sldId id="2145706679"/>
            <p14:sldId id="2145706680"/>
            <p14:sldId id="2145706681"/>
            <p14:sldId id="2145706682"/>
            <p14:sldId id="2145706705"/>
            <p14:sldId id="2145706683"/>
            <p14:sldId id="2145706684"/>
            <p14:sldId id="2145706685"/>
            <p14:sldId id="2145706686"/>
            <p14:sldId id="2145706687"/>
            <p14:sldId id="2145706690"/>
            <p14:sldId id="2145706691"/>
            <p14:sldId id="2145706692"/>
            <p14:sldId id="2145706693"/>
            <p14:sldId id="2145706694"/>
            <p14:sldId id="2145706695"/>
            <p14:sldId id="2145706696"/>
            <p14:sldId id="2145706697"/>
            <p14:sldId id="2145706698"/>
            <p14:sldId id="2145706699"/>
            <p14:sldId id="2145706700"/>
          </p14:sldIdLst>
        </p14:section>
        <p14:section name="05 Conclusions" id="{5CF66A29-A6D5-466D-843F-754F7392E497}">
          <p14:sldIdLst>
            <p14:sldId id="2145706702"/>
            <p14:sldId id="2145706701"/>
          </p14:sldIdLst>
        </p14:section>
        <p14:section name="06 Appendix" id="{F3055773-E776-427D-86F7-B157A60B85D7}">
          <p14:sldIdLst>
            <p14:sldId id="2145706706"/>
            <p14:sldId id="2145706665"/>
            <p14:sldId id="2145706666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0F0"/>
    <a:srgbClr val="61AFEF"/>
    <a:srgbClr val="C211DF"/>
    <a:srgbClr val="272936"/>
    <a:srgbClr val="FF0505"/>
    <a:srgbClr val="058A05"/>
    <a:srgbClr val="D69D68"/>
    <a:srgbClr val="0070AD"/>
    <a:srgbClr val="789865"/>
    <a:srgbClr val="3A81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5A1811-DFF2-43F5-A7A7-22A66EF04CEB}" v="373" dt="2022-04-03T12:58:18.3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30" autoAdjust="0"/>
    <p:restoredTop sz="97015" autoAdjust="0"/>
  </p:normalViewPr>
  <p:slideViewPr>
    <p:cSldViewPr snapToObjects="1">
      <p:cViewPr varScale="1">
        <p:scale>
          <a:sx n="86" d="100"/>
          <a:sy n="86" d="100"/>
        </p:scale>
        <p:origin x="682" y="53"/>
      </p:cViewPr>
      <p:guideLst>
        <p:guide orient="horz" pos="2341"/>
        <p:guide pos="3840"/>
      </p:guideLst>
    </p:cSldViewPr>
  </p:slideViewPr>
  <p:outlineViewPr>
    <p:cViewPr>
      <p:scale>
        <a:sx n="33" d="100"/>
        <a:sy n="33" d="100"/>
      </p:scale>
      <p:origin x="0" y="-3737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65" d="100"/>
          <a:sy n="65" d="100"/>
        </p:scale>
        <p:origin x="3154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microsoft.com/office/2016/11/relationships/changesInfo" Target="changesInfos/changesInfo1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ags" Target="tags/tag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notesMaster" Target="notesMasters/notesMaster1.xml"/><Relationship Id="rId62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presProps" Target="presProp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Barnes" userId="b303a15ee67145ed" providerId="LiveId" clId="{4A5A1811-DFF2-43F5-A7A7-22A66EF04CEB}"/>
    <pc:docChg chg="undo redo custSel addSld delSld modSld sldOrd modMainMaster delSection modSection">
      <pc:chgData name="Daniel Barnes" userId="b303a15ee67145ed" providerId="LiveId" clId="{4A5A1811-DFF2-43F5-A7A7-22A66EF04CEB}" dt="2022-04-03T13:02:01.951" v="22350" actId="47"/>
      <pc:docMkLst>
        <pc:docMk/>
      </pc:docMkLst>
      <pc:sldChg chg="del">
        <pc:chgData name="Daniel Barnes" userId="b303a15ee67145ed" providerId="LiveId" clId="{4A5A1811-DFF2-43F5-A7A7-22A66EF04CEB}" dt="2022-03-13T20:55:20.595" v="2844" actId="47"/>
        <pc:sldMkLst>
          <pc:docMk/>
          <pc:sldMk cId="0" sldId="265"/>
        </pc:sldMkLst>
      </pc:sldChg>
      <pc:sldChg chg="del">
        <pc:chgData name="Daniel Barnes" userId="b303a15ee67145ed" providerId="LiveId" clId="{4A5A1811-DFF2-43F5-A7A7-22A66EF04CEB}" dt="2022-03-13T22:27:47.128" v="3987" actId="47"/>
        <pc:sldMkLst>
          <pc:docMk/>
          <pc:sldMk cId="3539573683" sldId="283"/>
        </pc:sldMkLst>
      </pc:sldChg>
      <pc:sldChg chg="del">
        <pc:chgData name="Daniel Barnes" userId="b303a15ee67145ed" providerId="LiveId" clId="{4A5A1811-DFF2-43F5-A7A7-22A66EF04CEB}" dt="2022-03-13T22:27:48.589" v="3990" actId="47"/>
        <pc:sldMkLst>
          <pc:docMk/>
          <pc:sldMk cId="2084359478" sldId="285"/>
        </pc:sldMkLst>
      </pc:sldChg>
      <pc:sldChg chg="del">
        <pc:chgData name="Daniel Barnes" userId="b303a15ee67145ed" providerId="LiveId" clId="{4A5A1811-DFF2-43F5-A7A7-22A66EF04CEB}" dt="2022-03-13T22:27:45.377" v="3984" actId="47"/>
        <pc:sldMkLst>
          <pc:docMk/>
          <pc:sldMk cId="2673216784" sldId="310"/>
        </pc:sldMkLst>
      </pc:sldChg>
      <pc:sldChg chg="del">
        <pc:chgData name="Daniel Barnes" userId="b303a15ee67145ed" providerId="LiveId" clId="{4A5A1811-DFF2-43F5-A7A7-22A66EF04CEB}" dt="2022-03-13T22:27:46.598" v="3986" actId="47"/>
        <pc:sldMkLst>
          <pc:docMk/>
          <pc:sldMk cId="2334085048" sldId="386"/>
        </pc:sldMkLst>
      </pc:sldChg>
      <pc:sldChg chg="addSp modSp del mod modClrScheme chgLayout">
        <pc:chgData name="Daniel Barnes" userId="b303a15ee67145ed" providerId="LiveId" clId="{4A5A1811-DFF2-43F5-A7A7-22A66EF04CEB}" dt="2022-03-13T22:27:51.169" v="3995" actId="47"/>
        <pc:sldMkLst>
          <pc:docMk/>
          <pc:sldMk cId="1712464991" sldId="389"/>
        </pc:sldMkLst>
        <pc:spChg chg="add mod ord">
          <ac:chgData name="Daniel Barnes" userId="b303a15ee67145ed" providerId="LiveId" clId="{4A5A1811-DFF2-43F5-A7A7-22A66EF04CEB}" dt="2022-03-13T21:36:49.627" v="3213" actId="700"/>
          <ac:spMkLst>
            <pc:docMk/>
            <pc:sldMk cId="1712464991" sldId="389"/>
            <ac:spMk id="2" creationId="{39DF4845-E59A-4D04-83D1-037A8B6AA6AE}"/>
          </ac:spMkLst>
        </pc:spChg>
        <pc:spChg chg="mod ord">
          <ac:chgData name="Daniel Barnes" userId="b303a15ee67145ed" providerId="LiveId" clId="{4A5A1811-DFF2-43F5-A7A7-22A66EF04CEB}" dt="2022-03-13T21:36:49.627" v="3213" actId="700"/>
          <ac:spMkLst>
            <pc:docMk/>
            <pc:sldMk cId="1712464991" sldId="389"/>
            <ac:spMk id="5" creationId="{25143A88-C215-4C38-BDA1-8D492CDBDA6D}"/>
          </ac:spMkLst>
        </pc:spChg>
      </pc:sldChg>
      <pc:sldChg chg="del">
        <pc:chgData name="Daniel Barnes" userId="b303a15ee67145ed" providerId="LiveId" clId="{4A5A1811-DFF2-43F5-A7A7-22A66EF04CEB}" dt="2022-03-13T22:27:47.579" v="3988" actId="47"/>
        <pc:sldMkLst>
          <pc:docMk/>
          <pc:sldMk cId="1853698949" sldId="422"/>
        </pc:sldMkLst>
      </pc:sldChg>
      <pc:sldChg chg="del">
        <pc:chgData name="Daniel Barnes" userId="b303a15ee67145ed" providerId="LiveId" clId="{4A5A1811-DFF2-43F5-A7A7-22A66EF04CEB}" dt="2022-03-13T22:27:46.126" v="3985" actId="47"/>
        <pc:sldMkLst>
          <pc:docMk/>
          <pc:sldMk cId="1458833693" sldId="430"/>
        </pc:sldMkLst>
      </pc:sldChg>
      <pc:sldChg chg="del">
        <pc:chgData name="Daniel Barnes" userId="b303a15ee67145ed" providerId="LiveId" clId="{4A5A1811-DFF2-43F5-A7A7-22A66EF04CEB}" dt="2022-03-13T22:27:49.667" v="3992" actId="47"/>
        <pc:sldMkLst>
          <pc:docMk/>
          <pc:sldMk cId="4090508549" sldId="434"/>
        </pc:sldMkLst>
      </pc:sldChg>
      <pc:sldChg chg="del">
        <pc:chgData name="Daniel Barnes" userId="b303a15ee67145ed" providerId="LiveId" clId="{4A5A1811-DFF2-43F5-A7A7-22A66EF04CEB}" dt="2022-03-13T22:27:50.129" v="3993" actId="47"/>
        <pc:sldMkLst>
          <pc:docMk/>
          <pc:sldMk cId="2109591922" sldId="438"/>
        </pc:sldMkLst>
      </pc:sldChg>
      <pc:sldChg chg="del">
        <pc:chgData name="Daniel Barnes" userId="b303a15ee67145ed" providerId="LiveId" clId="{4A5A1811-DFF2-43F5-A7A7-22A66EF04CEB}" dt="2022-03-13T22:27:49.096" v="3991" actId="47"/>
        <pc:sldMkLst>
          <pc:docMk/>
          <pc:sldMk cId="3570254087" sldId="440"/>
        </pc:sldMkLst>
      </pc:sldChg>
      <pc:sldChg chg="addSp delSp modSp mod">
        <pc:chgData name="Daniel Barnes" userId="b303a15ee67145ed" providerId="LiveId" clId="{4A5A1811-DFF2-43F5-A7A7-22A66EF04CEB}" dt="2022-04-03T12:43:03.967" v="22127" actId="1037"/>
        <pc:sldMkLst>
          <pc:docMk/>
          <pc:sldMk cId="1831704493" sldId="1033"/>
        </pc:sldMkLst>
        <pc:spChg chg="add mod">
          <ac:chgData name="Daniel Barnes" userId="b303a15ee67145ed" providerId="LiveId" clId="{4A5A1811-DFF2-43F5-A7A7-22A66EF04CEB}" dt="2022-04-03T12:43:03.967" v="22127" actId="1037"/>
          <ac:spMkLst>
            <pc:docMk/>
            <pc:sldMk cId="1831704493" sldId="1033"/>
            <ac:spMk id="8" creationId="{F5EC60A8-E290-432C-9150-DC133F4983FB}"/>
          </ac:spMkLst>
        </pc:spChg>
        <pc:spChg chg="mod">
          <ac:chgData name="Daniel Barnes" userId="b303a15ee67145ed" providerId="LiveId" clId="{4A5A1811-DFF2-43F5-A7A7-22A66EF04CEB}" dt="2022-03-13T22:30:47.314" v="4029" actId="12"/>
          <ac:spMkLst>
            <pc:docMk/>
            <pc:sldMk cId="1831704493" sldId="1033"/>
            <ac:spMk id="9" creationId="{62331484-B8FF-4E3E-BF36-A07F2A79E765}"/>
          </ac:spMkLst>
        </pc:spChg>
        <pc:spChg chg="add mod">
          <ac:chgData name="Daniel Barnes" userId="b303a15ee67145ed" providerId="LiveId" clId="{4A5A1811-DFF2-43F5-A7A7-22A66EF04CEB}" dt="2022-04-03T12:43:03.967" v="22127" actId="1037"/>
          <ac:spMkLst>
            <pc:docMk/>
            <pc:sldMk cId="1831704493" sldId="1033"/>
            <ac:spMk id="11" creationId="{6E91195E-1A45-4FAB-8DD4-2EB43A875AA0}"/>
          </ac:spMkLst>
        </pc:spChg>
        <pc:spChg chg="add mod">
          <ac:chgData name="Daniel Barnes" userId="b303a15ee67145ed" providerId="LiveId" clId="{4A5A1811-DFF2-43F5-A7A7-22A66EF04CEB}" dt="2022-04-03T12:43:03.967" v="22127" actId="1037"/>
          <ac:spMkLst>
            <pc:docMk/>
            <pc:sldMk cId="1831704493" sldId="1033"/>
            <ac:spMk id="13" creationId="{3C9604FB-CA0E-4BD9-816B-F05BF0A255D9}"/>
          </ac:spMkLst>
        </pc:spChg>
        <pc:spChg chg="add mod">
          <ac:chgData name="Daniel Barnes" userId="b303a15ee67145ed" providerId="LiveId" clId="{4A5A1811-DFF2-43F5-A7A7-22A66EF04CEB}" dt="2022-04-03T12:43:03.967" v="22127" actId="1037"/>
          <ac:spMkLst>
            <pc:docMk/>
            <pc:sldMk cId="1831704493" sldId="1033"/>
            <ac:spMk id="15" creationId="{6C6B3179-88F9-4EF1-829B-AD5296840D50}"/>
          </ac:spMkLst>
        </pc:spChg>
        <pc:picChg chg="del mod">
          <ac:chgData name="Daniel Barnes" userId="b303a15ee67145ed" providerId="LiveId" clId="{4A5A1811-DFF2-43F5-A7A7-22A66EF04CEB}" dt="2022-04-03T12:42:24.159" v="22110" actId="478"/>
          <ac:picMkLst>
            <pc:docMk/>
            <pc:sldMk cId="1831704493" sldId="1033"/>
            <ac:picMk id="3" creationId="{686FA588-9AF3-4A8B-9949-AFA0BC6C5F95}"/>
          </ac:picMkLst>
        </pc:picChg>
        <pc:picChg chg="mod">
          <ac:chgData name="Daniel Barnes" userId="b303a15ee67145ed" providerId="LiveId" clId="{4A5A1811-DFF2-43F5-A7A7-22A66EF04CEB}" dt="2022-04-03T12:43:03.967" v="22127" actId="1037"/>
          <ac:picMkLst>
            <pc:docMk/>
            <pc:sldMk cId="1831704493" sldId="1033"/>
            <ac:picMk id="10" creationId="{A32F75B6-D7DF-44D5-A965-AA890E09B1AD}"/>
          </ac:picMkLst>
        </pc:picChg>
        <pc:picChg chg="mod">
          <ac:chgData name="Daniel Barnes" userId="b303a15ee67145ed" providerId="LiveId" clId="{4A5A1811-DFF2-43F5-A7A7-22A66EF04CEB}" dt="2022-04-03T12:43:03.967" v="22127" actId="1037"/>
          <ac:picMkLst>
            <pc:docMk/>
            <pc:sldMk cId="1831704493" sldId="1033"/>
            <ac:picMk id="12" creationId="{2226A540-05CE-433F-B2F1-A637EA9FC8FB}"/>
          </ac:picMkLst>
        </pc:picChg>
        <pc:picChg chg="mod">
          <ac:chgData name="Daniel Barnes" userId="b303a15ee67145ed" providerId="LiveId" clId="{4A5A1811-DFF2-43F5-A7A7-22A66EF04CEB}" dt="2022-04-03T12:43:03.967" v="22127" actId="1037"/>
          <ac:picMkLst>
            <pc:docMk/>
            <pc:sldMk cId="1831704493" sldId="1033"/>
            <ac:picMk id="14" creationId="{6DD30B7B-4A9D-4352-8A66-45F757FA4010}"/>
          </ac:picMkLst>
        </pc:picChg>
        <pc:picChg chg="add mod ord">
          <ac:chgData name="Daniel Barnes" userId="b303a15ee67145ed" providerId="LiveId" clId="{4A5A1811-DFF2-43F5-A7A7-22A66EF04CEB}" dt="2022-04-03T12:43:03.967" v="22127" actId="1037"/>
          <ac:picMkLst>
            <pc:docMk/>
            <pc:sldMk cId="1831704493" sldId="1033"/>
            <ac:picMk id="16" creationId="{D8442E8E-37C2-487B-870C-2D6D735A9E93}"/>
          </ac:picMkLst>
        </pc:picChg>
        <pc:picChg chg="add del mod">
          <ac:chgData name="Daniel Barnes" userId="b303a15ee67145ed" providerId="LiveId" clId="{4A5A1811-DFF2-43F5-A7A7-22A66EF04CEB}" dt="2022-04-03T12:42:45.342" v="22118"/>
          <ac:picMkLst>
            <pc:docMk/>
            <pc:sldMk cId="1831704493" sldId="1033"/>
            <ac:picMk id="17" creationId="{19B37B86-FECF-4F7A-A055-E69E3A3AC665}"/>
          </ac:picMkLst>
        </pc:picChg>
      </pc:sldChg>
      <pc:sldChg chg="del">
        <pc:chgData name="Daniel Barnes" userId="b303a15ee67145ed" providerId="LiveId" clId="{4A5A1811-DFF2-43F5-A7A7-22A66EF04CEB}" dt="2022-03-13T22:27:48.113" v="3989" actId="47"/>
        <pc:sldMkLst>
          <pc:docMk/>
          <pc:sldMk cId="2466203640" sldId="1038"/>
        </pc:sldMkLst>
      </pc:sldChg>
      <pc:sldChg chg="del">
        <pc:chgData name="Daniel Barnes" userId="b303a15ee67145ed" providerId="LiveId" clId="{4A5A1811-DFF2-43F5-A7A7-22A66EF04CEB}" dt="2022-03-13T20:55:19.944" v="2843" actId="47"/>
        <pc:sldMkLst>
          <pc:docMk/>
          <pc:sldMk cId="998745995" sldId="1039"/>
        </pc:sldMkLst>
      </pc:sldChg>
      <pc:sldChg chg="del">
        <pc:chgData name="Daniel Barnes" userId="b303a15ee67145ed" providerId="LiveId" clId="{4A5A1811-DFF2-43F5-A7A7-22A66EF04CEB}" dt="2022-03-13T22:27:50.568" v="3994" actId="47"/>
        <pc:sldMkLst>
          <pc:docMk/>
          <pc:sldMk cId="3212294294" sldId="1054"/>
        </pc:sldMkLst>
      </pc:sldChg>
      <pc:sldChg chg="del">
        <pc:chgData name="Daniel Barnes" userId="b303a15ee67145ed" providerId="LiveId" clId="{4A5A1811-DFF2-43F5-A7A7-22A66EF04CEB}" dt="2022-03-13T20:55:22.930" v="2845" actId="47"/>
        <pc:sldMkLst>
          <pc:docMk/>
          <pc:sldMk cId="48713332" sldId="1055"/>
        </pc:sldMkLst>
      </pc:sldChg>
      <pc:sldChg chg="addSp modSp del mod modClrScheme chgLayout">
        <pc:chgData name="Daniel Barnes" userId="b303a15ee67145ed" providerId="LiveId" clId="{4A5A1811-DFF2-43F5-A7A7-22A66EF04CEB}" dt="2022-03-13T22:27:51.646" v="3996" actId="47"/>
        <pc:sldMkLst>
          <pc:docMk/>
          <pc:sldMk cId="1809115893" sldId="2145706623"/>
        </pc:sldMkLst>
        <pc:spChg chg="mod ord">
          <ac:chgData name="Daniel Barnes" userId="b303a15ee67145ed" providerId="LiveId" clId="{4A5A1811-DFF2-43F5-A7A7-22A66EF04CEB}" dt="2022-03-13T21:36:57.864" v="3214" actId="700"/>
          <ac:spMkLst>
            <pc:docMk/>
            <pc:sldMk cId="1809115893" sldId="2145706623"/>
            <ac:spMk id="2" creationId="{3EDCC615-662F-4CE3-B86C-1AE2552E9FF4}"/>
          </ac:spMkLst>
        </pc:spChg>
        <pc:spChg chg="add mod ord">
          <ac:chgData name="Daniel Barnes" userId="b303a15ee67145ed" providerId="LiveId" clId="{4A5A1811-DFF2-43F5-A7A7-22A66EF04CEB}" dt="2022-03-13T21:36:57.864" v="3214" actId="700"/>
          <ac:spMkLst>
            <pc:docMk/>
            <pc:sldMk cId="1809115893" sldId="2145706623"/>
            <ac:spMk id="21" creationId="{C5749F13-FD5B-401D-8AEE-589E1A77D19D}"/>
          </ac:spMkLst>
        </pc:spChg>
      </pc:sldChg>
      <pc:sldChg chg="del">
        <pc:chgData name="Daniel Barnes" userId="b303a15ee67145ed" providerId="LiveId" clId="{4A5A1811-DFF2-43F5-A7A7-22A66EF04CEB}" dt="2022-03-13T22:27:44.278" v="3983" actId="47"/>
        <pc:sldMkLst>
          <pc:docMk/>
          <pc:sldMk cId="2791069631" sldId="2145706635"/>
        </pc:sldMkLst>
      </pc:sldChg>
      <pc:sldChg chg="del">
        <pc:chgData name="Daniel Barnes" userId="b303a15ee67145ed" providerId="LiveId" clId="{4A5A1811-DFF2-43F5-A7A7-22A66EF04CEB}" dt="2022-03-13T19:20:03.876" v="243" actId="47"/>
        <pc:sldMkLst>
          <pc:docMk/>
          <pc:sldMk cId="1915099708" sldId="2145706638"/>
        </pc:sldMkLst>
      </pc:sldChg>
      <pc:sldChg chg="modSp mod">
        <pc:chgData name="Daniel Barnes" userId="b303a15ee67145ed" providerId="LiveId" clId="{4A5A1811-DFF2-43F5-A7A7-22A66EF04CEB}" dt="2022-03-13T22:42:08.923" v="4106" actId="20577"/>
        <pc:sldMkLst>
          <pc:docMk/>
          <pc:sldMk cId="1719766177" sldId="2145706642"/>
        </pc:sldMkLst>
        <pc:spChg chg="mod">
          <ac:chgData name="Daniel Barnes" userId="b303a15ee67145ed" providerId="LiveId" clId="{4A5A1811-DFF2-43F5-A7A7-22A66EF04CEB}" dt="2022-03-13T22:42:08.923" v="4106" actId="20577"/>
          <ac:spMkLst>
            <pc:docMk/>
            <pc:sldMk cId="1719766177" sldId="2145706642"/>
            <ac:spMk id="16" creationId="{78A5BD09-27BF-4985-9769-14B3FC8052DE}"/>
          </ac:spMkLst>
        </pc:spChg>
      </pc:sldChg>
      <pc:sldChg chg="del">
        <pc:chgData name="Daniel Barnes" userId="b303a15ee67145ed" providerId="LiveId" clId="{4A5A1811-DFF2-43F5-A7A7-22A66EF04CEB}" dt="2022-03-13T19:16:30.220" v="0" actId="47"/>
        <pc:sldMkLst>
          <pc:docMk/>
          <pc:sldMk cId="3315323325" sldId="2145706643"/>
        </pc:sldMkLst>
      </pc:sldChg>
      <pc:sldChg chg="del">
        <pc:chgData name="Daniel Barnes" userId="b303a15ee67145ed" providerId="LiveId" clId="{4A5A1811-DFF2-43F5-A7A7-22A66EF04CEB}" dt="2022-03-13T19:18:22.388" v="216" actId="47"/>
        <pc:sldMkLst>
          <pc:docMk/>
          <pc:sldMk cId="2419356653" sldId="2145706644"/>
        </pc:sldMkLst>
      </pc:sldChg>
      <pc:sldChg chg="del">
        <pc:chgData name="Daniel Barnes" userId="b303a15ee67145ed" providerId="LiveId" clId="{4A5A1811-DFF2-43F5-A7A7-22A66EF04CEB}" dt="2022-03-13T19:20:09.327" v="244" actId="47"/>
        <pc:sldMkLst>
          <pc:docMk/>
          <pc:sldMk cId="1367426569" sldId="2145706645"/>
        </pc:sldMkLst>
      </pc:sldChg>
      <pc:sldChg chg="del">
        <pc:chgData name="Daniel Barnes" userId="b303a15ee67145ed" providerId="LiveId" clId="{4A5A1811-DFF2-43F5-A7A7-22A66EF04CEB}" dt="2022-03-13T22:40:14.358" v="4057" actId="47"/>
        <pc:sldMkLst>
          <pc:docMk/>
          <pc:sldMk cId="2690681357" sldId="2145706646"/>
        </pc:sldMkLst>
      </pc:sldChg>
      <pc:sldChg chg="del">
        <pc:chgData name="Daniel Barnes" userId="b303a15ee67145ed" providerId="LiveId" clId="{4A5A1811-DFF2-43F5-A7A7-22A66EF04CEB}" dt="2022-03-13T22:42:27.705" v="4111" actId="47"/>
        <pc:sldMkLst>
          <pc:docMk/>
          <pc:sldMk cId="2421176396" sldId="2145706647"/>
        </pc:sldMkLst>
      </pc:sldChg>
      <pc:sldChg chg="del">
        <pc:chgData name="Daniel Barnes" userId="b303a15ee67145ed" providerId="LiveId" clId="{4A5A1811-DFF2-43F5-A7A7-22A66EF04CEB}" dt="2022-04-03T13:02:01.951" v="22350" actId="47"/>
        <pc:sldMkLst>
          <pc:docMk/>
          <pc:sldMk cId="595374081" sldId="2145706648"/>
        </pc:sldMkLst>
      </pc:sldChg>
      <pc:sldChg chg="addSp delSp modSp mod">
        <pc:chgData name="Daniel Barnes" userId="b303a15ee67145ed" providerId="LiveId" clId="{4A5A1811-DFF2-43F5-A7A7-22A66EF04CEB}" dt="2022-04-03T12:51:27.326" v="22216" actId="208"/>
        <pc:sldMkLst>
          <pc:docMk/>
          <pc:sldMk cId="3224566060" sldId="2145706650"/>
        </pc:sldMkLst>
        <pc:spChg chg="mod">
          <ac:chgData name="Daniel Barnes" userId="b303a15ee67145ed" providerId="LiveId" clId="{4A5A1811-DFF2-43F5-A7A7-22A66EF04CEB}" dt="2022-03-13T20:28:38.444" v="2237" actId="6549"/>
          <ac:spMkLst>
            <pc:docMk/>
            <pc:sldMk cId="3224566060" sldId="2145706650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39:50.557" v="12647" actId="6549"/>
          <ac:spMkLst>
            <pc:docMk/>
            <pc:sldMk cId="3224566060" sldId="2145706650"/>
            <ac:spMk id="3" creationId="{E6EB4016-53BF-47E2-8C18-4CAA9DE4C1F2}"/>
          </ac:spMkLst>
        </pc:spChg>
        <pc:spChg chg="add del mod">
          <ac:chgData name="Daniel Barnes" userId="b303a15ee67145ed" providerId="LiveId" clId="{4A5A1811-DFF2-43F5-A7A7-22A66EF04CEB}" dt="2022-03-13T20:28:15.701" v="2234" actId="478"/>
          <ac:spMkLst>
            <pc:docMk/>
            <pc:sldMk cId="3224566060" sldId="2145706650"/>
            <ac:spMk id="22" creationId="{543E940A-428F-47B4-AA86-2F8DD5AD69B7}"/>
          </ac:spMkLst>
        </pc:spChg>
        <pc:spChg chg="add del mod">
          <ac:chgData name="Daniel Barnes" userId="b303a15ee67145ed" providerId="LiveId" clId="{4A5A1811-DFF2-43F5-A7A7-22A66EF04CEB}" dt="2022-03-13T20:46:29.245" v="2837" actId="478"/>
          <ac:spMkLst>
            <pc:docMk/>
            <pc:sldMk cId="3224566060" sldId="2145706650"/>
            <ac:spMk id="25" creationId="{9FC54188-0A92-4704-AF1F-F27052BB8993}"/>
          </ac:spMkLst>
        </pc:spChg>
        <pc:spChg chg="add del mod">
          <ac:chgData name="Daniel Barnes" userId="b303a15ee67145ed" providerId="LiveId" clId="{4A5A1811-DFF2-43F5-A7A7-22A66EF04CEB}" dt="2022-03-13T20:46:35.475" v="2841" actId="478"/>
          <ac:spMkLst>
            <pc:docMk/>
            <pc:sldMk cId="3224566060" sldId="2145706650"/>
            <ac:spMk id="26" creationId="{E92ABBA5-3212-4EFB-8953-1E21570F38D6}"/>
          </ac:spMkLst>
        </pc:spChg>
        <pc:spChg chg="add del mod">
          <ac:chgData name="Daniel Barnes" userId="b303a15ee67145ed" providerId="LiveId" clId="{4A5A1811-DFF2-43F5-A7A7-22A66EF04CEB}" dt="2022-03-13T20:46:30.395" v="2839" actId="478"/>
          <ac:spMkLst>
            <pc:docMk/>
            <pc:sldMk cId="3224566060" sldId="2145706650"/>
            <ac:spMk id="27" creationId="{18C95FDD-6056-4E06-8D2A-2679174BEE77}"/>
          </ac:spMkLst>
        </pc:spChg>
        <pc:spChg chg="add del mod">
          <ac:chgData name="Daniel Barnes" userId="b303a15ee67145ed" providerId="LiveId" clId="{4A5A1811-DFF2-43F5-A7A7-22A66EF04CEB}" dt="2022-03-13T20:46:34.811" v="2840" actId="478"/>
          <ac:spMkLst>
            <pc:docMk/>
            <pc:sldMk cId="3224566060" sldId="2145706650"/>
            <ac:spMk id="28" creationId="{C64A1754-8553-40DC-976F-F67DB0E9DF2A}"/>
          </ac:spMkLst>
        </pc:spChg>
        <pc:spChg chg="add mod topLvl">
          <ac:chgData name="Daniel Barnes" userId="b303a15ee67145ed" providerId="LiveId" clId="{4A5A1811-DFF2-43F5-A7A7-22A66EF04CEB}" dt="2022-04-03T12:45:42.182" v="22149" actId="165"/>
          <ac:spMkLst>
            <pc:docMk/>
            <pc:sldMk cId="3224566060" sldId="2145706650"/>
            <ac:spMk id="29" creationId="{1DF1107F-F74A-4304-8DE6-93916235A5B1}"/>
          </ac:spMkLst>
        </pc:spChg>
        <pc:spChg chg="add mod topLvl">
          <ac:chgData name="Daniel Barnes" userId="b303a15ee67145ed" providerId="LiveId" clId="{4A5A1811-DFF2-43F5-A7A7-22A66EF04CEB}" dt="2022-04-03T12:45:42.182" v="22149" actId="165"/>
          <ac:spMkLst>
            <pc:docMk/>
            <pc:sldMk cId="3224566060" sldId="2145706650"/>
            <ac:spMk id="30" creationId="{66093CA5-2EC8-4B34-A1C8-F0C4091F6EE7}"/>
          </ac:spMkLst>
        </pc:spChg>
        <pc:spChg chg="add mod topLvl">
          <ac:chgData name="Daniel Barnes" userId="b303a15ee67145ed" providerId="LiveId" clId="{4A5A1811-DFF2-43F5-A7A7-22A66EF04CEB}" dt="2022-04-03T12:45:42.182" v="22149" actId="165"/>
          <ac:spMkLst>
            <pc:docMk/>
            <pc:sldMk cId="3224566060" sldId="2145706650"/>
            <ac:spMk id="31" creationId="{E02402AA-948A-4B29-B94D-F54509BA10EA}"/>
          </ac:spMkLst>
        </pc:spChg>
        <pc:spChg chg="add mod topLvl">
          <ac:chgData name="Daniel Barnes" userId="b303a15ee67145ed" providerId="LiveId" clId="{4A5A1811-DFF2-43F5-A7A7-22A66EF04CEB}" dt="2022-04-03T12:45:42.182" v="22149" actId="165"/>
          <ac:spMkLst>
            <pc:docMk/>
            <pc:sldMk cId="3224566060" sldId="2145706650"/>
            <ac:spMk id="32" creationId="{FCE79089-D131-4132-9A95-62FAEED47BA8}"/>
          </ac:spMkLst>
        </pc:spChg>
        <pc:spChg chg="add del mod">
          <ac:chgData name="Daniel Barnes" userId="b303a15ee67145ed" providerId="LiveId" clId="{4A5A1811-DFF2-43F5-A7A7-22A66EF04CEB}" dt="2022-03-13T22:22:46.542" v="3966" actId="478"/>
          <ac:spMkLst>
            <pc:docMk/>
            <pc:sldMk cId="3224566060" sldId="2145706650"/>
            <ac:spMk id="34" creationId="{AABBD3EB-FE4D-4695-B4F3-FF6E2A0895DC}"/>
          </ac:spMkLst>
        </pc:spChg>
        <pc:spChg chg="add mod">
          <ac:chgData name="Daniel Barnes" userId="b303a15ee67145ed" providerId="LiveId" clId="{4A5A1811-DFF2-43F5-A7A7-22A66EF04CEB}" dt="2022-03-13T22:22:44.218" v="3964"/>
          <ac:spMkLst>
            <pc:docMk/>
            <pc:sldMk cId="3224566060" sldId="2145706650"/>
            <ac:spMk id="35" creationId="{B0C5CC0C-B0DF-4DEE-9B5B-199178D8350C}"/>
          </ac:spMkLst>
        </pc:spChg>
        <pc:grpChg chg="add del mod">
          <ac:chgData name="Daniel Barnes" userId="b303a15ee67145ed" providerId="LiveId" clId="{4A5A1811-DFF2-43F5-A7A7-22A66EF04CEB}" dt="2022-03-13T20:33:21.636" v="2340" actId="478"/>
          <ac:grpSpMkLst>
            <pc:docMk/>
            <pc:sldMk cId="3224566060" sldId="2145706650"/>
            <ac:grpSpMk id="18" creationId="{7E3AF57D-BCCD-42A3-A12B-13AF90E6A84F}"/>
          </ac:grpSpMkLst>
        </pc:grpChg>
        <pc:grpChg chg="add del mod">
          <ac:chgData name="Daniel Barnes" userId="b303a15ee67145ed" providerId="LiveId" clId="{4A5A1811-DFF2-43F5-A7A7-22A66EF04CEB}" dt="2022-04-03T12:45:42.182" v="22149" actId="165"/>
          <ac:grpSpMkLst>
            <pc:docMk/>
            <pc:sldMk cId="3224566060" sldId="2145706650"/>
            <ac:grpSpMk id="33" creationId="{39C4738E-B6A4-4A4A-8FC7-CC035026E912}"/>
          </ac:grpSpMkLst>
        </pc:grpChg>
        <pc:picChg chg="add mod">
          <ac:chgData name="Daniel Barnes" userId="b303a15ee67145ed" providerId="LiveId" clId="{4A5A1811-DFF2-43F5-A7A7-22A66EF04CEB}" dt="2022-03-13T20:07:32.777" v="1132" actId="164"/>
          <ac:picMkLst>
            <pc:docMk/>
            <pc:sldMk cId="3224566060" sldId="2145706650"/>
            <ac:picMk id="5" creationId="{93C5F980-31E5-4580-9422-C5A526F73EC4}"/>
          </ac:picMkLst>
        </pc:picChg>
        <pc:picChg chg="add del mod modCrop">
          <ac:chgData name="Daniel Barnes" userId="b303a15ee67145ed" providerId="LiveId" clId="{4A5A1811-DFF2-43F5-A7A7-22A66EF04CEB}" dt="2022-03-13T20:33:18.716" v="2339" actId="478"/>
          <ac:picMkLst>
            <pc:docMk/>
            <pc:sldMk cId="3224566060" sldId="2145706650"/>
            <ac:picMk id="6" creationId="{A6EACE13-983B-4AA9-AF1D-0A7DDB3CF7DE}"/>
          </ac:picMkLst>
        </pc:picChg>
        <pc:picChg chg="add del mod">
          <ac:chgData name="Daniel Barnes" userId="b303a15ee67145ed" providerId="LiveId" clId="{4A5A1811-DFF2-43F5-A7A7-22A66EF04CEB}" dt="2022-03-13T20:05:51.358" v="1112" actId="478"/>
          <ac:picMkLst>
            <pc:docMk/>
            <pc:sldMk cId="3224566060" sldId="2145706650"/>
            <ac:picMk id="7" creationId="{B05BA2BF-10FA-4A1A-9785-773D9B3D7EA2}"/>
          </ac:picMkLst>
        </pc:picChg>
        <pc:picChg chg="add del">
          <ac:chgData name="Daniel Barnes" userId="b303a15ee67145ed" providerId="LiveId" clId="{4A5A1811-DFF2-43F5-A7A7-22A66EF04CEB}" dt="2022-03-13T20:03:14.350" v="1083" actId="478"/>
          <ac:picMkLst>
            <pc:docMk/>
            <pc:sldMk cId="3224566060" sldId="2145706650"/>
            <ac:picMk id="9" creationId="{817C0E1E-3988-403F-BAE8-F4785865FD63}"/>
          </ac:picMkLst>
        </pc:picChg>
        <pc:picChg chg="add mod">
          <ac:chgData name="Daniel Barnes" userId="b303a15ee67145ed" providerId="LiveId" clId="{4A5A1811-DFF2-43F5-A7A7-22A66EF04CEB}" dt="2022-03-13T20:07:32.777" v="1132" actId="164"/>
          <ac:picMkLst>
            <pc:docMk/>
            <pc:sldMk cId="3224566060" sldId="2145706650"/>
            <ac:picMk id="11" creationId="{E6D63F86-D0FD-4554-B688-B52D6F26C5F5}"/>
          </ac:picMkLst>
        </pc:picChg>
        <pc:picChg chg="add mod">
          <ac:chgData name="Daniel Barnes" userId="b303a15ee67145ed" providerId="LiveId" clId="{4A5A1811-DFF2-43F5-A7A7-22A66EF04CEB}" dt="2022-03-13T20:07:32.777" v="1132" actId="164"/>
          <ac:picMkLst>
            <pc:docMk/>
            <pc:sldMk cId="3224566060" sldId="2145706650"/>
            <ac:picMk id="13" creationId="{B7FA7808-D5FF-4F87-9A51-4A6DD912A9E0}"/>
          </ac:picMkLst>
        </pc:picChg>
        <pc:picChg chg="add mod topLvl">
          <ac:chgData name="Daniel Barnes" userId="b303a15ee67145ed" providerId="LiveId" clId="{4A5A1811-DFF2-43F5-A7A7-22A66EF04CEB}" dt="2022-04-03T12:51:27.326" v="22216" actId="208"/>
          <ac:picMkLst>
            <pc:docMk/>
            <pc:sldMk cId="3224566060" sldId="2145706650"/>
            <ac:picMk id="15" creationId="{C3830511-C957-4952-AB09-8E969DBA71E1}"/>
          </ac:picMkLst>
        </pc:picChg>
        <pc:picChg chg="add mod topLvl">
          <ac:chgData name="Daniel Barnes" userId="b303a15ee67145ed" providerId="LiveId" clId="{4A5A1811-DFF2-43F5-A7A7-22A66EF04CEB}" dt="2022-04-03T12:51:27.326" v="22216" actId="208"/>
          <ac:picMkLst>
            <pc:docMk/>
            <pc:sldMk cId="3224566060" sldId="2145706650"/>
            <ac:picMk id="17" creationId="{1AD7F3D1-90B6-4134-8857-3B06F3ACD75B}"/>
          </ac:picMkLst>
        </pc:picChg>
        <pc:picChg chg="add del mod topLvl">
          <ac:chgData name="Daniel Barnes" userId="b303a15ee67145ed" providerId="LiveId" clId="{4A5A1811-DFF2-43F5-A7A7-22A66EF04CEB}" dt="2022-04-03T12:51:27.326" v="22216" actId="208"/>
          <ac:picMkLst>
            <pc:docMk/>
            <pc:sldMk cId="3224566060" sldId="2145706650"/>
            <ac:picMk id="20" creationId="{5175496B-53CE-4EE1-83CF-AF3B8527CAE8}"/>
          </ac:picMkLst>
        </pc:picChg>
        <pc:picChg chg="add mod topLvl">
          <ac:chgData name="Daniel Barnes" userId="b303a15ee67145ed" providerId="LiveId" clId="{4A5A1811-DFF2-43F5-A7A7-22A66EF04CEB}" dt="2022-04-03T12:51:27.326" v="22216" actId="208"/>
          <ac:picMkLst>
            <pc:docMk/>
            <pc:sldMk cId="3224566060" sldId="2145706650"/>
            <ac:picMk id="24" creationId="{62ED9ABB-61DC-420D-BD60-52BFA3DF87D0}"/>
          </ac:picMkLst>
        </pc:picChg>
      </pc:sldChg>
      <pc:sldChg chg="addSp delSp modSp mod setBg modClrScheme chgLayout">
        <pc:chgData name="Daniel Barnes" userId="b303a15ee67145ed" providerId="LiveId" clId="{4A5A1811-DFF2-43F5-A7A7-22A66EF04CEB}" dt="2022-03-21T21:27:51.786" v="6626" actId="207"/>
        <pc:sldMkLst>
          <pc:docMk/>
          <pc:sldMk cId="2584317881" sldId="2145706651"/>
        </pc:sldMkLst>
        <pc:spChg chg="mod ord">
          <ac:chgData name="Daniel Barnes" userId="b303a15ee67145ed" providerId="LiveId" clId="{4A5A1811-DFF2-43F5-A7A7-22A66EF04CEB}" dt="2022-03-21T20:53:06.121" v="4790" actId="207"/>
          <ac:spMkLst>
            <pc:docMk/>
            <pc:sldMk cId="2584317881" sldId="2145706651"/>
            <ac:spMk id="2" creationId="{0107FA66-646B-42C0-A453-9C2949F7188C}"/>
          </ac:spMkLst>
        </pc:spChg>
        <pc:spChg chg="mod ord">
          <ac:chgData name="Daniel Barnes" userId="b303a15ee67145ed" providerId="LiveId" clId="{4A5A1811-DFF2-43F5-A7A7-22A66EF04CEB}" dt="2022-03-21T21:24:13.491" v="6571" actId="21"/>
          <ac:spMkLst>
            <pc:docMk/>
            <pc:sldMk cId="2584317881" sldId="2145706651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13T22:26:08.364" v="3979"/>
          <ac:spMkLst>
            <pc:docMk/>
            <pc:sldMk cId="2584317881" sldId="2145706651"/>
            <ac:spMk id="4" creationId="{E5534484-F223-4342-8F4D-1F5A8C9C8198}"/>
          </ac:spMkLst>
        </pc:spChg>
        <pc:spChg chg="add mod ord">
          <ac:chgData name="Daniel Barnes" userId="b303a15ee67145ed" providerId="LiveId" clId="{4A5A1811-DFF2-43F5-A7A7-22A66EF04CEB}" dt="2022-03-21T21:23:09.354" v="6527" actId="207"/>
          <ac:spMkLst>
            <pc:docMk/>
            <pc:sldMk cId="2584317881" sldId="2145706651"/>
            <ac:spMk id="5" creationId="{7453AA93-4A89-4C9E-AF21-6B1D837B5CDA}"/>
          </ac:spMkLst>
        </pc:spChg>
        <pc:spChg chg="add mod ord">
          <ac:chgData name="Daniel Barnes" userId="b303a15ee67145ed" providerId="LiveId" clId="{4A5A1811-DFF2-43F5-A7A7-22A66EF04CEB}" dt="2022-03-21T21:24:29.227" v="6577" actId="21"/>
          <ac:spMkLst>
            <pc:docMk/>
            <pc:sldMk cId="2584317881" sldId="2145706651"/>
            <ac:spMk id="6" creationId="{241B1CCC-E4DB-4CD3-880A-2212EC6056C8}"/>
          </ac:spMkLst>
        </pc:spChg>
        <pc:spChg chg="add mod ord">
          <ac:chgData name="Daniel Barnes" userId="b303a15ee67145ed" providerId="LiveId" clId="{4A5A1811-DFF2-43F5-A7A7-22A66EF04CEB}" dt="2022-03-21T21:23:11.385" v="6528" actId="207"/>
          <ac:spMkLst>
            <pc:docMk/>
            <pc:sldMk cId="2584317881" sldId="2145706651"/>
            <ac:spMk id="7" creationId="{0797E5C3-0229-4F4A-91A8-A5E22C113085}"/>
          </ac:spMkLst>
        </pc:spChg>
        <pc:spChg chg="add mod ord">
          <ac:chgData name="Daniel Barnes" userId="b303a15ee67145ed" providerId="LiveId" clId="{4A5A1811-DFF2-43F5-A7A7-22A66EF04CEB}" dt="2022-03-21T21:24:58.357" v="6586" actId="21"/>
          <ac:spMkLst>
            <pc:docMk/>
            <pc:sldMk cId="2584317881" sldId="2145706651"/>
            <ac:spMk id="8" creationId="{08C3B6BE-FA9F-4878-9BD2-26B3B4EFB716}"/>
          </ac:spMkLst>
        </pc:spChg>
        <pc:spChg chg="add mod ord">
          <ac:chgData name="Daniel Barnes" userId="b303a15ee67145ed" providerId="LiveId" clId="{4A5A1811-DFF2-43F5-A7A7-22A66EF04CEB}" dt="2022-03-21T21:23:13.134" v="6529" actId="207"/>
          <ac:spMkLst>
            <pc:docMk/>
            <pc:sldMk cId="2584317881" sldId="2145706651"/>
            <ac:spMk id="9" creationId="{78043D29-7267-45B3-9E41-F9AF22D0E55E}"/>
          </ac:spMkLst>
        </pc:spChg>
        <pc:spChg chg="add mod">
          <ac:chgData name="Daniel Barnes" userId="b303a15ee67145ed" providerId="LiveId" clId="{4A5A1811-DFF2-43F5-A7A7-22A66EF04CEB}" dt="2022-03-21T21:26:09.969" v="6613" actId="1036"/>
          <ac:spMkLst>
            <pc:docMk/>
            <pc:sldMk cId="2584317881" sldId="2145706651"/>
            <ac:spMk id="24" creationId="{99174AEC-7283-400B-8B47-9A56EAADBF61}"/>
          </ac:spMkLst>
        </pc:spChg>
        <pc:spChg chg="add mod">
          <ac:chgData name="Daniel Barnes" userId="b303a15ee67145ed" providerId="LiveId" clId="{4A5A1811-DFF2-43F5-A7A7-22A66EF04CEB}" dt="2022-03-21T21:26:09.969" v="6613" actId="1036"/>
          <ac:spMkLst>
            <pc:docMk/>
            <pc:sldMk cId="2584317881" sldId="2145706651"/>
            <ac:spMk id="26" creationId="{A649B91F-C564-4E0F-8D72-886A3A5C574A}"/>
          </ac:spMkLst>
        </pc:spChg>
        <pc:spChg chg="add mod">
          <ac:chgData name="Daniel Barnes" userId="b303a15ee67145ed" providerId="LiveId" clId="{4A5A1811-DFF2-43F5-A7A7-22A66EF04CEB}" dt="2022-03-21T21:26:09.969" v="6613" actId="1036"/>
          <ac:spMkLst>
            <pc:docMk/>
            <pc:sldMk cId="2584317881" sldId="2145706651"/>
            <ac:spMk id="28" creationId="{02C044DE-8C42-46A8-9E48-183702740F84}"/>
          </ac:spMkLst>
        </pc:spChg>
        <pc:spChg chg="mod">
          <ac:chgData name="Daniel Barnes" userId="b303a15ee67145ed" providerId="LiveId" clId="{4A5A1811-DFF2-43F5-A7A7-22A66EF04CEB}" dt="2022-03-21T21:26:55.111" v="6617" actId="27803"/>
          <ac:spMkLst>
            <pc:docMk/>
            <pc:sldMk cId="2584317881" sldId="2145706651"/>
            <ac:spMk id="30" creationId="{EE0A2103-FC87-4BF8-A2D9-85309DAAB6FD}"/>
          </ac:spMkLst>
        </pc:spChg>
        <pc:spChg chg="mod">
          <ac:chgData name="Daniel Barnes" userId="b303a15ee67145ed" providerId="LiveId" clId="{4A5A1811-DFF2-43F5-A7A7-22A66EF04CEB}" dt="2022-03-21T21:27:01.523" v="6618" actId="207"/>
          <ac:spMkLst>
            <pc:docMk/>
            <pc:sldMk cId="2584317881" sldId="2145706651"/>
            <ac:spMk id="31" creationId="{FDDD865A-6B6B-4CD7-ADB1-489DFDB86D6D}"/>
          </ac:spMkLst>
        </pc:spChg>
        <pc:spChg chg="mod">
          <ac:chgData name="Daniel Barnes" userId="b303a15ee67145ed" providerId="LiveId" clId="{4A5A1811-DFF2-43F5-A7A7-22A66EF04CEB}" dt="2022-03-21T21:27:07.011" v="6619" actId="27803"/>
          <ac:spMkLst>
            <pc:docMk/>
            <pc:sldMk cId="2584317881" sldId="2145706651"/>
            <ac:spMk id="33" creationId="{21959A9D-C398-49A3-8D66-868700FB64E7}"/>
          </ac:spMkLst>
        </pc:spChg>
        <pc:spChg chg="mod">
          <ac:chgData name="Daniel Barnes" userId="b303a15ee67145ed" providerId="LiveId" clId="{4A5A1811-DFF2-43F5-A7A7-22A66EF04CEB}" dt="2022-03-21T21:27:20.863" v="6622" actId="207"/>
          <ac:spMkLst>
            <pc:docMk/>
            <pc:sldMk cId="2584317881" sldId="2145706651"/>
            <ac:spMk id="34" creationId="{83F23A67-6876-4367-B808-1B3279027B90}"/>
          </ac:spMkLst>
        </pc:spChg>
        <pc:spChg chg="mod">
          <ac:chgData name="Daniel Barnes" userId="b303a15ee67145ed" providerId="LiveId" clId="{4A5A1811-DFF2-43F5-A7A7-22A66EF04CEB}" dt="2022-03-21T21:27:46.420" v="6625" actId="207"/>
          <ac:spMkLst>
            <pc:docMk/>
            <pc:sldMk cId="2584317881" sldId="2145706651"/>
            <ac:spMk id="35" creationId="{E5C2D67E-401B-43D7-A850-0D1E190B7390}"/>
          </ac:spMkLst>
        </pc:spChg>
        <pc:spChg chg="mod">
          <ac:chgData name="Daniel Barnes" userId="b303a15ee67145ed" providerId="LiveId" clId="{4A5A1811-DFF2-43F5-A7A7-22A66EF04CEB}" dt="2022-03-21T21:27:20.863" v="6622" actId="207"/>
          <ac:spMkLst>
            <pc:docMk/>
            <pc:sldMk cId="2584317881" sldId="2145706651"/>
            <ac:spMk id="36" creationId="{B519FD71-DBEF-4D7A-9BE4-6448FD4AAB9B}"/>
          </ac:spMkLst>
        </pc:spChg>
        <pc:spChg chg="mod">
          <ac:chgData name="Daniel Barnes" userId="b303a15ee67145ed" providerId="LiveId" clId="{4A5A1811-DFF2-43F5-A7A7-22A66EF04CEB}" dt="2022-03-21T21:27:46.420" v="6625" actId="207"/>
          <ac:spMkLst>
            <pc:docMk/>
            <pc:sldMk cId="2584317881" sldId="2145706651"/>
            <ac:spMk id="37" creationId="{C468C236-AC68-4E68-920F-A3295FB25EEC}"/>
          </ac:spMkLst>
        </pc:spChg>
        <pc:spChg chg="mod">
          <ac:chgData name="Daniel Barnes" userId="b303a15ee67145ed" providerId="LiveId" clId="{4A5A1811-DFF2-43F5-A7A7-22A66EF04CEB}" dt="2022-03-21T21:27:31.503" v="6623" actId="27803"/>
          <ac:spMkLst>
            <pc:docMk/>
            <pc:sldMk cId="2584317881" sldId="2145706651"/>
            <ac:spMk id="39" creationId="{01221B71-29C8-4301-9C0F-51C64AF002E3}"/>
          </ac:spMkLst>
        </pc:spChg>
        <pc:spChg chg="mod">
          <ac:chgData name="Daniel Barnes" userId="b303a15ee67145ed" providerId="LiveId" clId="{4A5A1811-DFF2-43F5-A7A7-22A66EF04CEB}" dt="2022-03-21T21:27:42.381" v="6624" actId="207"/>
          <ac:spMkLst>
            <pc:docMk/>
            <pc:sldMk cId="2584317881" sldId="2145706651"/>
            <ac:spMk id="40" creationId="{C61016E6-D9EE-41C2-9E63-E043E62FAB42}"/>
          </ac:spMkLst>
        </pc:spChg>
        <pc:spChg chg="mod">
          <ac:chgData name="Daniel Barnes" userId="b303a15ee67145ed" providerId="LiveId" clId="{4A5A1811-DFF2-43F5-A7A7-22A66EF04CEB}" dt="2022-03-21T21:27:51.786" v="6626" actId="207"/>
          <ac:spMkLst>
            <pc:docMk/>
            <pc:sldMk cId="2584317881" sldId="2145706651"/>
            <ac:spMk id="41" creationId="{F1EAFE71-38B4-43D2-BB7D-79B9E3B5B446}"/>
          </ac:spMkLst>
        </pc:spChg>
        <pc:spChg chg="mod">
          <ac:chgData name="Daniel Barnes" userId="b303a15ee67145ed" providerId="LiveId" clId="{4A5A1811-DFF2-43F5-A7A7-22A66EF04CEB}" dt="2022-03-21T21:27:42.381" v="6624" actId="207"/>
          <ac:spMkLst>
            <pc:docMk/>
            <pc:sldMk cId="2584317881" sldId="2145706651"/>
            <ac:spMk id="42" creationId="{D80E07A9-3A8C-48E4-89E6-E73273FBA864}"/>
          </ac:spMkLst>
        </pc:spChg>
        <pc:spChg chg="mod">
          <ac:chgData name="Daniel Barnes" userId="b303a15ee67145ed" providerId="LiveId" clId="{4A5A1811-DFF2-43F5-A7A7-22A66EF04CEB}" dt="2022-03-21T21:27:51.786" v="6626" actId="207"/>
          <ac:spMkLst>
            <pc:docMk/>
            <pc:sldMk cId="2584317881" sldId="2145706651"/>
            <ac:spMk id="43" creationId="{04AC724C-319B-4ED4-A0F4-ADF3E6427C3C}"/>
          </ac:spMkLst>
        </pc:spChg>
        <pc:spChg chg="mod">
          <ac:chgData name="Daniel Barnes" userId="b303a15ee67145ed" providerId="LiveId" clId="{4A5A1811-DFF2-43F5-A7A7-22A66EF04CEB}" dt="2022-03-21T21:27:51.786" v="6626" actId="207"/>
          <ac:spMkLst>
            <pc:docMk/>
            <pc:sldMk cId="2584317881" sldId="2145706651"/>
            <ac:spMk id="44" creationId="{A045D900-C50E-4D92-BD77-85478ED51149}"/>
          </ac:spMkLst>
        </pc:spChg>
        <pc:spChg chg="mod">
          <ac:chgData name="Daniel Barnes" userId="b303a15ee67145ed" providerId="LiveId" clId="{4A5A1811-DFF2-43F5-A7A7-22A66EF04CEB}" dt="2022-03-21T21:27:51.786" v="6626" actId="207"/>
          <ac:spMkLst>
            <pc:docMk/>
            <pc:sldMk cId="2584317881" sldId="2145706651"/>
            <ac:spMk id="45" creationId="{C928A252-D812-4851-B151-D1AF8EB42026}"/>
          </ac:spMkLst>
        </pc:spChg>
        <pc:spChg chg="mod">
          <ac:chgData name="Daniel Barnes" userId="b303a15ee67145ed" providerId="LiveId" clId="{4A5A1811-DFF2-43F5-A7A7-22A66EF04CEB}" dt="2022-03-21T21:27:42.381" v="6624" actId="207"/>
          <ac:spMkLst>
            <pc:docMk/>
            <pc:sldMk cId="2584317881" sldId="2145706651"/>
            <ac:spMk id="46" creationId="{7023A8EC-D5F4-432C-8FC4-44653A8EC4E0}"/>
          </ac:spMkLst>
        </pc:spChg>
        <pc:grpChg chg="del mod">
          <ac:chgData name="Daniel Barnes" userId="b303a15ee67145ed" providerId="LiveId" clId="{4A5A1811-DFF2-43F5-A7A7-22A66EF04CEB}" dt="2022-03-21T21:26:55.111" v="6617" actId="27803"/>
          <ac:grpSpMkLst>
            <pc:docMk/>
            <pc:sldMk cId="2584317881" sldId="2145706651"/>
            <ac:grpSpMk id="29" creationId="{A0F039A8-B642-452A-8446-BAB26C05979A}"/>
          </ac:grpSpMkLst>
        </pc:grpChg>
        <pc:grpChg chg="del mod">
          <ac:chgData name="Daniel Barnes" userId="b303a15ee67145ed" providerId="LiveId" clId="{4A5A1811-DFF2-43F5-A7A7-22A66EF04CEB}" dt="2022-03-21T21:27:07.011" v="6619" actId="27803"/>
          <ac:grpSpMkLst>
            <pc:docMk/>
            <pc:sldMk cId="2584317881" sldId="2145706651"/>
            <ac:grpSpMk id="32" creationId="{FB6B3D14-22CB-47E3-8277-6DEDA1D70D16}"/>
          </ac:grpSpMkLst>
        </pc:grpChg>
        <pc:grpChg chg="del mod">
          <ac:chgData name="Daniel Barnes" userId="b303a15ee67145ed" providerId="LiveId" clId="{4A5A1811-DFF2-43F5-A7A7-22A66EF04CEB}" dt="2022-03-21T21:27:31.503" v="6623" actId="27803"/>
          <ac:grpSpMkLst>
            <pc:docMk/>
            <pc:sldMk cId="2584317881" sldId="2145706651"/>
            <ac:grpSpMk id="38" creationId="{3EFAC38C-73F0-42EB-9487-DBA18D918C78}"/>
          </ac:grpSpMkLst>
        </pc:grpChg>
        <pc:graphicFrameChg chg="add del mod">
          <ac:chgData name="Daniel Barnes" userId="b303a15ee67145ed" providerId="LiveId" clId="{4A5A1811-DFF2-43F5-A7A7-22A66EF04CEB}" dt="2022-03-21T21:21:55.357" v="6520" actId="478"/>
          <ac:graphicFrameMkLst>
            <pc:docMk/>
            <pc:sldMk cId="2584317881" sldId="2145706651"/>
            <ac:graphicFrameMk id="16" creationId="{D5EB4188-9BF5-4364-91D3-A3EAFE29342D}"/>
          </ac:graphicFrameMkLst>
        </pc:graphicFrameChg>
        <pc:picChg chg="add del mod">
          <ac:chgData name="Daniel Barnes" userId="b303a15ee67145ed" providerId="LiveId" clId="{4A5A1811-DFF2-43F5-A7A7-22A66EF04CEB}" dt="2022-03-21T20:59:37.062" v="5425" actId="478"/>
          <ac:picMkLst>
            <pc:docMk/>
            <pc:sldMk cId="2584317881" sldId="2145706651"/>
            <ac:picMk id="11" creationId="{F96A4D73-73B3-4410-91C1-5EAD81E2DFBC}"/>
          </ac:picMkLst>
        </pc:picChg>
        <pc:picChg chg="add del mod">
          <ac:chgData name="Daniel Barnes" userId="b303a15ee67145ed" providerId="LiveId" clId="{4A5A1811-DFF2-43F5-A7A7-22A66EF04CEB}" dt="2022-03-21T21:21:29.563" v="6517" actId="931"/>
          <ac:picMkLst>
            <pc:docMk/>
            <pc:sldMk cId="2584317881" sldId="2145706651"/>
            <ac:picMk id="13" creationId="{1FD4AE7A-ED82-4250-B2BF-CFB7BB4F2E1E}"/>
          </ac:picMkLst>
        </pc:picChg>
        <pc:picChg chg="add del mod">
          <ac:chgData name="Daniel Barnes" userId="b303a15ee67145ed" providerId="LiveId" clId="{4A5A1811-DFF2-43F5-A7A7-22A66EF04CEB}" dt="2022-03-21T21:27:31.503" v="6623" actId="27803"/>
          <ac:picMkLst>
            <pc:docMk/>
            <pc:sldMk cId="2584317881" sldId="2145706651"/>
            <ac:picMk id="18" creationId="{A25F95D1-0779-4FDF-838B-E192C5BD1CB3}"/>
          </ac:picMkLst>
        </pc:picChg>
        <pc:picChg chg="add del mod">
          <ac:chgData name="Daniel Barnes" userId="b303a15ee67145ed" providerId="LiveId" clId="{4A5A1811-DFF2-43F5-A7A7-22A66EF04CEB}" dt="2022-03-21T21:27:07.011" v="6619" actId="27803"/>
          <ac:picMkLst>
            <pc:docMk/>
            <pc:sldMk cId="2584317881" sldId="2145706651"/>
            <ac:picMk id="20" creationId="{38619D14-616D-44C0-AF48-5337A2FA9C6F}"/>
          </ac:picMkLst>
        </pc:picChg>
        <pc:picChg chg="add del mod">
          <ac:chgData name="Daniel Barnes" userId="b303a15ee67145ed" providerId="LiveId" clId="{4A5A1811-DFF2-43F5-A7A7-22A66EF04CEB}" dt="2022-03-21T21:26:55.111" v="6617" actId="27803"/>
          <ac:picMkLst>
            <pc:docMk/>
            <pc:sldMk cId="2584317881" sldId="2145706651"/>
            <ac:picMk id="22" creationId="{C9B960AF-1BBF-4F08-8E5A-37018992DF74}"/>
          </ac:picMkLst>
        </pc:picChg>
      </pc:sldChg>
      <pc:sldChg chg="addSp modSp mod">
        <pc:chgData name="Daniel Barnes" userId="b303a15ee67145ed" providerId="LiveId" clId="{4A5A1811-DFF2-43F5-A7A7-22A66EF04CEB}" dt="2022-03-21T22:50:15.019" v="11065" actId="207"/>
        <pc:sldMkLst>
          <pc:docMk/>
          <pc:sldMk cId="3965037339" sldId="2145706652"/>
        </pc:sldMkLst>
        <pc:spChg chg="mod">
          <ac:chgData name="Daniel Barnes" userId="b303a15ee67145ed" providerId="LiveId" clId="{4A5A1811-DFF2-43F5-A7A7-22A66EF04CEB}" dt="2022-03-21T22:50:15.019" v="11065" actId="207"/>
          <ac:spMkLst>
            <pc:docMk/>
            <pc:sldMk cId="3965037339" sldId="2145706652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13T22:26:31.255" v="3980"/>
          <ac:spMkLst>
            <pc:docMk/>
            <pc:sldMk cId="3965037339" sldId="2145706652"/>
            <ac:spMk id="4" creationId="{E9E2E145-A81D-4522-B62F-A820552A8190}"/>
          </ac:spMkLst>
        </pc:spChg>
      </pc:sldChg>
      <pc:sldChg chg="addSp modSp mod">
        <pc:chgData name="Daniel Barnes" userId="b303a15ee67145ed" providerId="LiveId" clId="{4A5A1811-DFF2-43F5-A7A7-22A66EF04CEB}" dt="2022-03-22T19:34:15.125" v="15572" actId="404"/>
        <pc:sldMkLst>
          <pc:docMk/>
          <pc:sldMk cId="3920905582" sldId="2145706653"/>
        </pc:sldMkLst>
        <pc:spChg chg="mod">
          <ac:chgData name="Daniel Barnes" userId="b303a15ee67145ed" providerId="LiveId" clId="{4A5A1811-DFF2-43F5-A7A7-22A66EF04CEB}" dt="2022-03-22T19:34:15.125" v="15572" actId="404"/>
          <ac:spMkLst>
            <pc:docMk/>
            <pc:sldMk cId="3920905582" sldId="2145706653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13T22:27:02.819" v="3981"/>
          <ac:spMkLst>
            <pc:docMk/>
            <pc:sldMk cId="3920905582" sldId="2145706653"/>
            <ac:spMk id="4" creationId="{34BBE921-76A2-491F-95BB-852950A1B925}"/>
          </ac:spMkLst>
        </pc:spChg>
      </pc:sldChg>
      <pc:sldChg chg="addSp delSp modSp mod">
        <pc:chgData name="Daniel Barnes" userId="b303a15ee67145ed" providerId="LiveId" clId="{4A5A1811-DFF2-43F5-A7A7-22A66EF04CEB}" dt="2022-04-03T10:11:26.419" v="19966" actId="20577"/>
        <pc:sldMkLst>
          <pc:docMk/>
          <pc:sldMk cId="66980752" sldId="2145706654"/>
        </pc:sldMkLst>
        <pc:spChg chg="mod">
          <ac:chgData name="Daniel Barnes" userId="b303a15ee67145ed" providerId="LiveId" clId="{4A5A1811-DFF2-43F5-A7A7-22A66EF04CEB}" dt="2022-04-03T10:11:26.419" v="19966" actId="20577"/>
          <ac:spMkLst>
            <pc:docMk/>
            <pc:sldMk cId="66980752" sldId="2145706654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13T22:27:24.987" v="3982"/>
          <ac:spMkLst>
            <pc:docMk/>
            <pc:sldMk cId="66980752" sldId="2145706654"/>
            <ac:spMk id="4" creationId="{03B143B8-C817-4278-823F-5EC99DE45B22}"/>
          </ac:spMkLst>
        </pc:spChg>
        <pc:picChg chg="add del mod">
          <ac:chgData name="Daniel Barnes" userId="b303a15ee67145ed" providerId="LiveId" clId="{4A5A1811-DFF2-43F5-A7A7-22A66EF04CEB}" dt="2022-04-02T20:50:00.619" v="18959" actId="478"/>
          <ac:picMkLst>
            <pc:docMk/>
            <pc:sldMk cId="66980752" sldId="2145706654"/>
            <ac:picMk id="5" creationId="{9EA64E70-3852-494A-BDC2-DDC1C2755BD0}"/>
          </ac:picMkLst>
        </pc:picChg>
        <pc:picChg chg="add del mod">
          <ac:chgData name="Daniel Barnes" userId="b303a15ee67145ed" providerId="LiveId" clId="{4A5A1811-DFF2-43F5-A7A7-22A66EF04CEB}" dt="2022-04-02T20:53:02.238" v="19300" actId="478"/>
          <ac:picMkLst>
            <pc:docMk/>
            <pc:sldMk cId="66980752" sldId="2145706654"/>
            <ac:picMk id="6" creationId="{5E31E00D-6D9E-4E29-A859-E4F5FCAB98F2}"/>
          </ac:picMkLst>
        </pc:picChg>
        <pc:picChg chg="add del mod">
          <ac:chgData name="Daniel Barnes" userId="b303a15ee67145ed" providerId="LiveId" clId="{4A5A1811-DFF2-43F5-A7A7-22A66EF04CEB}" dt="2022-04-02T20:50:01.376" v="18960" actId="478"/>
          <ac:picMkLst>
            <pc:docMk/>
            <pc:sldMk cId="66980752" sldId="2145706654"/>
            <ac:picMk id="7" creationId="{37FD0237-63AA-4327-B240-9BB3B21A4EA2}"/>
          </ac:picMkLst>
        </pc:picChg>
      </pc:sldChg>
      <pc:sldChg chg="addSp delSp modSp del mod">
        <pc:chgData name="Daniel Barnes" userId="b303a15ee67145ed" providerId="LiveId" clId="{4A5A1811-DFF2-43F5-A7A7-22A66EF04CEB}" dt="2022-03-13T21:48:39.281" v="3366" actId="47"/>
        <pc:sldMkLst>
          <pc:docMk/>
          <pc:sldMk cId="2781948424" sldId="2145706655"/>
        </pc:sldMkLst>
        <pc:spChg chg="add mod">
          <ac:chgData name="Daniel Barnes" userId="b303a15ee67145ed" providerId="LiveId" clId="{4A5A1811-DFF2-43F5-A7A7-22A66EF04CEB}" dt="2022-03-13T21:34:35.655" v="3194" actId="12788"/>
          <ac:spMkLst>
            <pc:docMk/>
            <pc:sldMk cId="2781948424" sldId="2145706655"/>
            <ac:spMk id="4" creationId="{0A59B4AA-DDE8-4B16-86B5-B1092731D592}"/>
          </ac:spMkLst>
        </pc:spChg>
        <pc:spChg chg="mod">
          <ac:chgData name="Daniel Barnes" userId="b303a15ee67145ed" providerId="LiveId" clId="{4A5A1811-DFF2-43F5-A7A7-22A66EF04CEB}" dt="2022-03-13T19:31:52.310" v="757" actId="1037"/>
          <ac:spMkLst>
            <pc:docMk/>
            <pc:sldMk cId="2781948424" sldId="2145706655"/>
            <ac:spMk id="33" creationId="{00B3CE52-E56F-4D28-A54C-13ED900C2931}"/>
          </ac:spMkLst>
        </pc:spChg>
        <pc:spChg chg="add del mod">
          <ac:chgData name="Daniel Barnes" userId="b303a15ee67145ed" providerId="LiveId" clId="{4A5A1811-DFF2-43F5-A7A7-22A66EF04CEB}" dt="2022-03-13T19:52:49.809" v="991"/>
          <ac:spMkLst>
            <pc:docMk/>
            <pc:sldMk cId="2781948424" sldId="2145706655"/>
            <ac:spMk id="47" creationId="{E2C2BC07-E598-4483-AE9C-FA227E27AD18}"/>
          </ac:spMkLst>
        </pc:spChg>
        <pc:spChg chg="add del mod">
          <ac:chgData name="Daniel Barnes" userId="b303a15ee67145ed" providerId="LiveId" clId="{4A5A1811-DFF2-43F5-A7A7-22A66EF04CEB}" dt="2022-03-13T19:54:31.575" v="1012" actId="478"/>
          <ac:spMkLst>
            <pc:docMk/>
            <pc:sldMk cId="2781948424" sldId="2145706655"/>
            <ac:spMk id="49" creationId="{8255E730-4885-4277-94DC-78409033ED04}"/>
          </ac:spMkLst>
        </pc:spChg>
        <pc:spChg chg="add mod">
          <ac:chgData name="Daniel Barnes" userId="b303a15ee67145ed" providerId="LiveId" clId="{4A5A1811-DFF2-43F5-A7A7-22A66EF04CEB}" dt="2022-03-13T21:34:06.093" v="3188" actId="164"/>
          <ac:spMkLst>
            <pc:docMk/>
            <pc:sldMk cId="2781948424" sldId="2145706655"/>
            <ac:spMk id="89" creationId="{7F77E3BE-FFD1-49D0-912B-FD6FB1D4A716}"/>
          </ac:spMkLst>
        </pc:spChg>
        <pc:spChg chg="mod">
          <ac:chgData name="Daniel Barnes" userId="b303a15ee67145ed" providerId="LiveId" clId="{4A5A1811-DFF2-43F5-A7A7-22A66EF04CEB}" dt="2022-03-13T19:42:53.975" v="982" actId="207"/>
          <ac:spMkLst>
            <pc:docMk/>
            <pc:sldMk cId="2781948424" sldId="2145706655"/>
            <ac:spMk id="92" creationId="{9AAEEBB0-06C6-42E1-B56C-FF9F6DA2595F}"/>
          </ac:spMkLst>
        </pc:spChg>
        <pc:spChg chg="add mod">
          <ac:chgData name="Daniel Barnes" userId="b303a15ee67145ed" providerId="LiveId" clId="{4A5A1811-DFF2-43F5-A7A7-22A66EF04CEB}" dt="2022-03-13T21:34:08.309" v="3189" actId="164"/>
          <ac:spMkLst>
            <pc:docMk/>
            <pc:sldMk cId="2781948424" sldId="2145706655"/>
            <ac:spMk id="93" creationId="{5887B57B-681F-4AFC-A510-8BB5A325AEEC}"/>
          </ac:spMkLst>
        </pc:spChg>
        <pc:spChg chg="add mod">
          <ac:chgData name="Daniel Barnes" userId="b303a15ee67145ed" providerId="LiveId" clId="{4A5A1811-DFF2-43F5-A7A7-22A66EF04CEB}" dt="2022-03-13T21:34:12.116" v="3190" actId="164"/>
          <ac:spMkLst>
            <pc:docMk/>
            <pc:sldMk cId="2781948424" sldId="2145706655"/>
            <ac:spMk id="94" creationId="{12364969-3AD7-48C4-8FC6-EC50B8447038}"/>
          </ac:spMkLst>
        </pc:spChg>
        <pc:spChg chg="add mod">
          <ac:chgData name="Daniel Barnes" userId="b303a15ee67145ed" providerId="LiveId" clId="{4A5A1811-DFF2-43F5-A7A7-22A66EF04CEB}" dt="2022-03-13T21:34:14.620" v="3191" actId="164"/>
          <ac:spMkLst>
            <pc:docMk/>
            <pc:sldMk cId="2781948424" sldId="2145706655"/>
            <ac:spMk id="97" creationId="{2A81A195-2676-44C4-896D-689E59A38CEC}"/>
          </ac:spMkLst>
        </pc:spChg>
        <pc:spChg chg="add mod">
          <ac:chgData name="Daniel Barnes" userId="b303a15ee67145ed" providerId="LiveId" clId="{4A5A1811-DFF2-43F5-A7A7-22A66EF04CEB}" dt="2022-03-13T21:35:20.494" v="3203" actId="1076"/>
          <ac:spMkLst>
            <pc:docMk/>
            <pc:sldMk cId="2781948424" sldId="2145706655"/>
            <ac:spMk id="98" creationId="{E7156280-6B7B-4263-AB17-22F35BB5C7C3}"/>
          </ac:spMkLst>
        </pc:spChg>
        <pc:spChg chg="add mod">
          <ac:chgData name="Daniel Barnes" userId="b303a15ee67145ed" providerId="LiveId" clId="{4A5A1811-DFF2-43F5-A7A7-22A66EF04CEB}" dt="2022-03-13T21:35:52.450" v="3208" actId="20577"/>
          <ac:spMkLst>
            <pc:docMk/>
            <pc:sldMk cId="2781948424" sldId="2145706655"/>
            <ac:spMk id="99" creationId="{1CC2D145-0795-41DD-8639-5A50A568CAFD}"/>
          </ac:spMkLst>
        </pc:spChg>
        <pc:spChg chg="add mod">
          <ac:chgData name="Daniel Barnes" userId="b303a15ee67145ed" providerId="LiveId" clId="{4A5A1811-DFF2-43F5-A7A7-22A66EF04CEB}" dt="2022-03-13T21:35:42.548" v="3205" actId="1076"/>
          <ac:spMkLst>
            <pc:docMk/>
            <pc:sldMk cId="2781948424" sldId="2145706655"/>
            <ac:spMk id="105" creationId="{AF5F8729-7120-4FC0-A214-0E201FF45A95}"/>
          </ac:spMkLst>
        </pc:spChg>
        <pc:spChg chg="add mod">
          <ac:chgData name="Daniel Barnes" userId="b303a15ee67145ed" providerId="LiveId" clId="{4A5A1811-DFF2-43F5-A7A7-22A66EF04CEB}" dt="2022-03-13T21:36:04.169" v="3212" actId="20577"/>
          <ac:spMkLst>
            <pc:docMk/>
            <pc:sldMk cId="2781948424" sldId="2145706655"/>
            <ac:spMk id="106" creationId="{64B7EFC1-B1A7-4EAA-A519-F90F8E046CAD}"/>
          </ac:spMkLst>
        </pc:spChg>
        <pc:grpChg chg="add mod">
          <ac:chgData name="Daniel Barnes" userId="b303a15ee67145ed" providerId="LiveId" clId="{4A5A1811-DFF2-43F5-A7A7-22A66EF04CEB}" dt="2022-03-13T21:30:33.717" v="3144" actId="164"/>
          <ac:grpSpMkLst>
            <pc:docMk/>
            <pc:sldMk cId="2781948424" sldId="2145706655"/>
            <ac:grpSpMk id="17" creationId="{687CE674-95E2-41B5-BCC7-71DE5D1AE7EA}"/>
          </ac:grpSpMkLst>
        </pc:grpChg>
        <pc:grpChg chg="add mod">
          <ac:chgData name="Daniel Barnes" userId="b303a15ee67145ed" providerId="LiveId" clId="{4A5A1811-DFF2-43F5-A7A7-22A66EF04CEB}" dt="2022-03-13T21:34:06.093" v="3188" actId="164"/>
          <ac:grpSpMkLst>
            <pc:docMk/>
            <pc:sldMk cId="2781948424" sldId="2145706655"/>
            <ac:grpSpMk id="28" creationId="{F7D9EF03-0D98-4A64-B0CA-E0D795AFB3A9}"/>
          </ac:grpSpMkLst>
        </pc:grpChg>
        <pc:grpChg chg="add mod">
          <ac:chgData name="Daniel Barnes" userId="b303a15ee67145ed" providerId="LiveId" clId="{4A5A1811-DFF2-43F5-A7A7-22A66EF04CEB}" dt="2022-03-13T21:34:08.309" v="3189" actId="164"/>
          <ac:grpSpMkLst>
            <pc:docMk/>
            <pc:sldMk cId="2781948424" sldId="2145706655"/>
            <ac:grpSpMk id="29" creationId="{8E1813E3-CDF6-4256-8F01-D02553A05958}"/>
          </ac:grpSpMkLst>
        </pc:grpChg>
        <pc:grpChg chg="add mod">
          <ac:chgData name="Daniel Barnes" userId="b303a15ee67145ed" providerId="LiveId" clId="{4A5A1811-DFF2-43F5-A7A7-22A66EF04CEB}" dt="2022-03-13T21:34:14.620" v="3191" actId="164"/>
          <ac:grpSpMkLst>
            <pc:docMk/>
            <pc:sldMk cId="2781948424" sldId="2145706655"/>
            <ac:grpSpMk id="34" creationId="{712E12DA-CB43-4C1A-9866-8734870251A9}"/>
          </ac:grpSpMkLst>
        </pc:grpChg>
        <pc:grpChg chg="add mod">
          <ac:chgData name="Daniel Barnes" userId="b303a15ee67145ed" providerId="LiveId" clId="{4A5A1811-DFF2-43F5-A7A7-22A66EF04CEB}" dt="2022-03-13T21:34:35.655" v="3194" actId="12788"/>
          <ac:grpSpMkLst>
            <pc:docMk/>
            <pc:sldMk cId="2781948424" sldId="2145706655"/>
            <ac:grpSpMk id="35" creationId="{92EA4B77-B14B-4AED-97DA-838569B509F9}"/>
          </ac:grpSpMkLst>
        </pc:grpChg>
        <pc:grpChg chg="add mod">
          <ac:chgData name="Daniel Barnes" userId="b303a15ee67145ed" providerId="LiveId" clId="{4A5A1811-DFF2-43F5-A7A7-22A66EF04CEB}" dt="2022-03-13T21:34:35.655" v="3194" actId="12788"/>
          <ac:grpSpMkLst>
            <pc:docMk/>
            <pc:sldMk cId="2781948424" sldId="2145706655"/>
            <ac:grpSpMk id="36" creationId="{C68EC541-DE3E-4EBC-81B6-66449314609B}"/>
          </ac:grpSpMkLst>
        </pc:grpChg>
        <pc:grpChg chg="add mod">
          <ac:chgData name="Daniel Barnes" userId="b303a15ee67145ed" providerId="LiveId" clId="{4A5A1811-DFF2-43F5-A7A7-22A66EF04CEB}" dt="2022-03-13T21:34:35.655" v="3194" actId="12788"/>
          <ac:grpSpMkLst>
            <pc:docMk/>
            <pc:sldMk cId="2781948424" sldId="2145706655"/>
            <ac:grpSpMk id="37" creationId="{C98B6911-FF5D-43E7-9056-26CA6E55DD15}"/>
          </ac:grpSpMkLst>
        </pc:grpChg>
        <pc:grpChg chg="add mod">
          <ac:chgData name="Daniel Barnes" userId="b303a15ee67145ed" providerId="LiveId" clId="{4A5A1811-DFF2-43F5-A7A7-22A66EF04CEB}" dt="2022-03-13T21:34:35.655" v="3194" actId="12788"/>
          <ac:grpSpMkLst>
            <pc:docMk/>
            <pc:sldMk cId="2781948424" sldId="2145706655"/>
            <ac:grpSpMk id="38" creationId="{82F9CF10-30F9-48AF-A7CC-7062B101402C}"/>
          </ac:grpSpMkLst>
        </pc:grpChg>
        <pc:grpChg chg="del">
          <ac:chgData name="Daniel Barnes" userId="b303a15ee67145ed" providerId="LiveId" clId="{4A5A1811-DFF2-43F5-A7A7-22A66EF04CEB}" dt="2022-03-13T21:26:38.272" v="3092" actId="478"/>
          <ac:grpSpMkLst>
            <pc:docMk/>
            <pc:sldMk cId="2781948424" sldId="2145706655"/>
            <ac:grpSpMk id="84" creationId="{E4B1302A-0480-4B14-9F6F-B68391E5E3B0}"/>
          </ac:grpSpMkLst>
        </pc:grpChg>
        <pc:grpChg chg="del">
          <ac:chgData name="Daniel Barnes" userId="b303a15ee67145ed" providerId="LiveId" clId="{4A5A1811-DFF2-43F5-A7A7-22A66EF04CEB}" dt="2022-03-13T21:26:39.281" v="3093" actId="478"/>
          <ac:grpSpMkLst>
            <pc:docMk/>
            <pc:sldMk cId="2781948424" sldId="2145706655"/>
            <ac:grpSpMk id="85" creationId="{6C3719D0-CD61-4D43-8859-90C4B6F9BCE6}"/>
          </ac:grpSpMkLst>
        </pc:grpChg>
        <pc:grpChg chg="del">
          <ac:chgData name="Daniel Barnes" userId="b303a15ee67145ed" providerId="LiveId" clId="{4A5A1811-DFF2-43F5-A7A7-22A66EF04CEB}" dt="2022-03-13T21:26:37.561" v="3091" actId="478"/>
          <ac:grpSpMkLst>
            <pc:docMk/>
            <pc:sldMk cId="2781948424" sldId="2145706655"/>
            <ac:grpSpMk id="87" creationId="{6FAEACA3-D006-419F-9B72-AEBBFCA9B32F}"/>
          </ac:grpSpMkLst>
        </pc:grpChg>
        <pc:grpChg chg="del">
          <ac:chgData name="Daniel Barnes" userId="b303a15ee67145ed" providerId="LiveId" clId="{4A5A1811-DFF2-43F5-A7A7-22A66EF04CEB}" dt="2022-03-13T21:26:36.809" v="3090" actId="478"/>
          <ac:grpSpMkLst>
            <pc:docMk/>
            <pc:sldMk cId="2781948424" sldId="2145706655"/>
            <ac:grpSpMk id="88" creationId="{AE86AD8F-0E9A-474F-B65D-73BD576D1A77}"/>
          </ac:grpSpMkLst>
        </pc:grpChg>
        <pc:picChg chg="add mod modCrop">
          <ac:chgData name="Daniel Barnes" userId="b303a15ee67145ed" providerId="LiveId" clId="{4A5A1811-DFF2-43F5-A7A7-22A66EF04CEB}" dt="2022-03-13T21:29:10.060" v="3127" actId="207"/>
          <ac:picMkLst>
            <pc:docMk/>
            <pc:sldMk cId="2781948424" sldId="2145706655"/>
            <ac:picMk id="6" creationId="{0D94EE98-C8BA-4088-9399-E3A6F93524AD}"/>
          </ac:picMkLst>
        </pc:picChg>
        <pc:picChg chg="add mod">
          <ac:chgData name="Daniel Barnes" userId="b303a15ee67145ed" providerId="LiveId" clId="{4A5A1811-DFF2-43F5-A7A7-22A66EF04CEB}" dt="2022-03-13T21:29:10.060" v="3127" actId="207"/>
          <ac:picMkLst>
            <pc:docMk/>
            <pc:sldMk cId="2781948424" sldId="2145706655"/>
            <ac:picMk id="8" creationId="{49F80C29-BD4E-4670-AFF0-F59E30604817}"/>
          </ac:picMkLst>
        </pc:picChg>
        <pc:picChg chg="add mod">
          <ac:chgData name="Daniel Barnes" userId="b303a15ee67145ed" providerId="LiveId" clId="{4A5A1811-DFF2-43F5-A7A7-22A66EF04CEB}" dt="2022-03-13T21:30:33.717" v="3144" actId="164"/>
          <ac:picMkLst>
            <pc:docMk/>
            <pc:sldMk cId="2781948424" sldId="2145706655"/>
            <ac:picMk id="10" creationId="{277E6190-5DA5-4D5A-96BA-1CD9654DE556}"/>
          </ac:picMkLst>
        </pc:picChg>
        <pc:picChg chg="add del mod">
          <ac:chgData name="Daniel Barnes" userId="b303a15ee67145ed" providerId="LiveId" clId="{4A5A1811-DFF2-43F5-A7A7-22A66EF04CEB}" dt="2022-03-13T21:23:53.561" v="3068" actId="478"/>
          <ac:picMkLst>
            <pc:docMk/>
            <pc:sldMk cId="2781948424" sldId="2145706655"/>
            <ac:picMk id="12" creationId="{5A86A287-DA03-4512-978B-FF29567B260B}"/>
          </ac:picMkLst>
        </pc:picChg>
        <pc:picChg chg="add mod ord">
          <ac:chgData name="Daniel Barnes" userId="b303a15ee67145ed" providerId="LiveId" clId="{4A5A1811-DFF2-43F5-A7A7-22A66EF04CEB}" dt="2022-03-13T21:24:20.053" v="3074" actId="164"/>
          <ac:picMkLst>
            <pc:docMk/>
            <pc:sldMk cId="2781948424" sldId="2145706655"/>
            <ac:picMk id="14" creationId="{8F30D176-1F26-4574-A3AE-DF6724CE75E0}"/>
          </ac:picMkLst>
        </pc:picChg>
        <pc:picChg chg="add mod ord modCrop">
          <ac:chgData name="Daniel Barnes" userId="b303a15ee67145ed" providerId="LiveId" clId="{4A5A1811-DFF2-43F5-A7A7-22A66EF04CEB}" dt="2022-03-13T21:24:35.251" v="3077" actId="1035"/>
          <ac:picMkLst>
            <pc:docMk/>
            <pc:sldMk cId="2781948424" sldId="2145706655"/>
            <ac:picMk id="16" creationId="{C4F55A5F-87B2-4210-A9EC-0FE7EF6DDB81}"/>
          </ac:picMkLst>
        </pc:picChg>
        <pc:picChg chg="add mod modCrop">
          <ac:chgData name="Daniel Barnes" userId="b303a15ee67145ed" providerId="LiveId" clId="{4A5A1811-DFF2-43F5-A7A7-22A66EF04CEB}" dt="2022-03-13T21:32:23.405" v="3160" actId="14100"/>
          <ac:picMkLst>
            <pc:docMk/>
            <pc:sldMk cId="2781948424" sldId="2145706655"/>
            <ac:picMk id="19" creationId="{DA39E6D6-5F71-4F33-B2F9-97EF92422C89}"/>
          </ac:picMkLst>
        </pc:picChg>
        <pc:picChg chg="add mod">
          <ac:chgData name="Daniel Barnes" userId="b303a15ee67145ed" providerId="LiveId" clId="{4A5A1811-DFF2-43F5-A7A7-22A66EF04CEB}" dt="2022-03-13T21:34:12.116" v="3190" actId="164"/>
          <ac:picMkLst>
            <pc:docMk/>
            <pc:sldMk cId="2781948424" sldId="2145706655"/>
            <ac:picMk id="21" creationId="{2B42FB22-101C-4599-82AD-6BFBBEB3B5E1}"/>
          </ac:picMkLst>
        </pc:picChg>
        <pc:picChg chg="add mod">
          <ac:chgData name="Daniel Barnes" userId="b303a15ee67145ed" providerId="LiveId" clId="{4A5A1811-DFF2-43F5-A7A7-22A66EF04CEB}" dt="2022-03-13T21:31:08.307" v="3149" actId="208"/>
          <ac:picMkLst>
            <pc:docMk/>
            <pc:sldMk cId="2781948424" sldId="2145706655"/>
            <ac:picMk id="23" creationId="{D7A64E16-D0A2-4B21-AA7C-834EE7126A30}"/>
          </ac:picMkLst>
        </pc:picChg>
        <pc:picChg chg="add mod">
          <ac:chgData name="Daniel Barnes" userId="b303a15ee67145ed" providerId="LiveId" clId="{4A5A1811-DFF2-43F5-A7A7-22A66EF04CEB}" dt="2022-03-13T21:31:08.307" v="3149" actId="208"/>
          <ac:picMkLst>
            <pc:docMk/>
            <pc:sldMk cId="2781948424" sldId="2145706655"/>
            <ac:picMk id="25" creationId="{2951F1BE-38E1-436B-BBA3-872D5BB60AF4}"/>
          </ac:picMkLst>
        </pc:picChg>
        <pc:picChg chg="add mod">
          <ac:chgData name="Daniel Barnes" userId="b303a15ee67145ed" providerId="LiveId" clId="{4A5A1811-DFF2-43F5-A7A7-22A66EF04CEB}" dt="2022-03-13T21:31:08.307" v="3149" actId="208"/>
          <ac:picMkLst>
            <pc:docMk/>
            <pc:sldMk cId="2781948424" sldId="2145706655"/>
            <ac:picMk id="27" creationId="{514F7056-FDCE-4BAB-B67C-3EA71DF9F716}"/>
          </ac:picMkLst>
        </pc:picChg>
        <pc:picChg chg="add mod modCrop">
          <ac:chgData name="Daniel Barnes" userId="b303a15ee67145ed" providerId="LiveId" clId="{4A5A1811-DFF2-43F5-A7A7-22A66EF04CEB}" dt="2022-03-13T21:29:10.060" v="3127" actId="207"/>
          <ac:picMkLst>
            <pc:docMk/>
            <pc:sldMk cId="2781948424" sldId="2145706655"/>
            <ac:picMk id="86" creationId="{D5E40F14-C243-45DC-A9AD-C3E089B083A3}"/>
          </ac:picMkLst>
        </pc:picChg>
      </pc:sldChg>
      <pc:sldChg chg="addSp delSp modSp del mod">
        <pc:chgData name="Daniel Barnes" userId="b303a15ee67145ed" providerId="LiveId" clId="{4A5A1811-DFF2-43F5-A7A7-22A66EF04CEB}" dt="2022-03-13T21:03:49.230" v="2918" actId="47"/>
        <pc:sldMkLst>
          <pc:docMk/>
          <pc:sldMk cId="838112012" sldId="2145706657"/>
        </pc:sldMkLst>
        <pc:grpChg chg="add del mod">
          <ac:chgData name="Daniel Barnes" userId="b303a15ee67145ed" providerId="LiveId" clId="{4A5A1811-DFF2-43F5-A7A7-22A66EF04CEB}" dt="2022-03-13T20:57:55.743" v="2861" actId="478"/>
          <ac:grpSpMkLst>
            <pc:docMk/>
            <pc:sldMk cId="838112012" sldId="2145706657"/>
            <ac:grpSpMk id="10" creationId="{F1A4A42A-D19C-4954-A065-ABB2C82CA71B}"/>
          </ac:grpSpMkLst>
        </pc:grpChg>
        <pc:grpChg chg="add del mod">
          <ac:chgData name="Daniel Barnes" userId="b303a15ee67145ed" providerId="LiveId" clId="{4A5A1811-DFF2-43F5-A7A7-22A66EF04CEB}" dt="2022-03-13T20:59:38.776" v="2877" actId="165"/>
          <ac:grpSpMkLst>
            <pc:docMk/>
            <pc:sldMk cId="838112012" sldId="2145706657"/>
            <ac:grpSpMk id="17" creationId="{DCD9FD01-1184-4E8D-9CBA-3FFB61DB3FC7}"/>
          </ac:grpSpMkLst>
        </pc:grpChg>
        <pc:picChg chg="add del mod topLvl">
          <ac:chgData name="Daniel Barnes" userId="b303a15ee67145ed" providerId="LiveId" clId="{4A5A1811-DFF2-43F5-A7A7-22A66EF04CEB}" dt="2022-03-13T20:57:56.114" v="2862" actId="478"/>
          <ac:picMkLst>
            <pc:docMk/>
            <pc:sldMk cId="838112012" sldId="2145706657"/>
            <ac:picMk id="4" creationId="{5FDF5136-D6E8-4A3A-A3CF-ED1EEAF454B4}"/>
          </ac:picMkLst>
        </pc:picChg>
        <pc:picChg chg="add del mod">
          <ac:chgData name="Daniel Barnes" userId="b303a15ee67145ed" providerId="LiveId" clId="{4A5A1811-DFF2-43F5-A7A7-22A66EF04CEB}" dt="2022-03-13T20:57:00.911" v="2851" actId="478"/>
          <ac:picMkLst>
            <pc:docMk/>
            <pc:sldMk cId="838112012" sldId="2145706657"/>
            <ac:picMk id="6" creationId="{6C5D9C7D-A0E3-468E-A710-F7F983DF2338}"/>
          </ac:picMkLst>
        </pc:picChg>
        <pc:picChg chg="add del mod topLvl">
          <ac:chgData name="Daniel Barnes" userId="b303a15ee67145ed" providerId="LiveId" clId="{4A5A1811-DFF2-43F5-A7A7-22A66EF04CEB}" dt="2022-03-13T20:57:55.743" v="2861" actId="478"/>
          <ac:picMkLst>
            <pc:docMk/>
            <pc:sldMk cId="838112012" sldId="2145706657"/>
            <ac:picMk id="9" creationId="{07ED34C3-9B7C-44FF-A462-17B290FFFDD3}"/>
          </ac:picMkLst>
        </pc:picChg>
        <pc:picChg chg="add mod topLvl">
          <ac:chgData name="Daniel Barnes" userId="b303a15ee67145ed" providerId="LiveId" clId="{4A5A1811-DFF2-43F5-A7A7-22A66EF04CEB}" dt="2022-03-13T20:59:38.776" v="2877" actId="165"/>
          <ac:picMkLst>
            <pc:docMk/>
            <pc:sldMk cId="838112012" sldId="2145706657"/>
            <ac:picMk id="14" creationId="{43B9C8A0-8640-47D3-B185-30DC8761039E}"/>
          </ac:picMkLst>
        </pc:picChg>
        <pc:picChg chg="add mod topLvl">
          <ac:chgData name="Daniel Barnes" userId="b303a15ee67145ed" providerId="LiveId" clId="{4A5A1811-DFF2-43F5-A7A7-22A66EF04CEB}" dt="2022-03-13T20:59:38.776" v="2877" actId="165"/>
          <ac:picMkLst>
            <pc:docMk/>
            <pc:sldMk cId="838112012" sldId="2145706657"/>
            <ac:picMk id="16" creationId="{A325448A-C384-4DF2-B9BF-A96687A7C9EF}"/>
          </ac:picMkLst>
        </pc:picChg>
        <pc:picChg chg="add mod">
          <ac:chgData name="Daniel Barnes" userId="b303a15ee67145ed" providerId="LiveId" clId="{4A5A1811-DFF2-43F5-A7A7-22A66EF04CEB}" dt="2022-03-13T21:01:31.858" v="2881" actId="108"/>
          <ac:picMkLst>
            <pc:docMk/>
            <pc:sldMk cId="838112012" sldId="2145706657"/>
            <ac:picMk id="19" creationId="{D7E53016-BAA8-40A7-B983-27AD4344024D}"/>
          </ac:picMkLst>
        </pc:picChg>
      </pc:sldChg>
      <pc:sldChg chg="addSp delSp modSp del mod">
        <pc:chgData name="Daniel Barnes" userId="b303a15ee67145ed" providerId="LiveId" clId="{4A5A1811-DFF2-43F5-A7A7-22A66EF04CEB}" dt="2022-03-13T21:18:10.752" v="2998" actId="47"/>
        <pc:sldMkLst>
          <pc:docMk/>
          <pc:sldMk cId="2137538481" sldId="2145706658"/>
        </pc:sldMkLst>
        <pc:picChg chg="add del mod">
          <ac:chgData name="Daniel Barnes" userId="b303a15ee67145ed" providerId="LiveId" clId="{4A5A1811-DFF2-43F5-A7A7-22A66EF04CEB}" dt="2022-03-13T21:17:36.929" v="2992" actId="478"/>
          <ac:picMkLst>
            <pc:docMk/>
            <pc:sldMk cId="2137538481" sldId="2145706658"/>
            <ac:picMk id="4" creationId="{9C5FFD87-EBE2-4D80-B193-E35D44FF2CFF}"/>
          </ac:picMkLst>
        </pc:picChg>
        <pc:picChg chg="add del mod">
          <ac:chgData name="Daniel Barnes" userId="b303a15ee67145ed" providerId="LiveId" clId="{4A5A1811-DFF2-43F5-A7A7-22A66EF04CEB}" dt="2022-03-13T21:07:31.362" v="2943" actId="478"/>
          <ac:picMkLst>
            <pc:docMk/>
            <pc:sldMk cId="2137538481" sldId="2145706658"/>
            <ac:picMk id="9" creationId="{0095FFBE-2F96-4684-8261-33FF2E356054}"/>
          </ac:picMkLst>
        </pc:picChg>
        <pc:picChg chg="add del mod">
          <ac:chgData name="Daniel Barnes" userId="b303a15ee67145ed" providerId="LiveId" clId="{4A5A1811-DFF2-43F5-A7A7-22A66EF04CEB}" dt="2022-03-13T21:17:37.785" v="2994" actId="478"/>
          <ac:picMkLst>
            <pc:docMk/>
            <pc:sldMk cId="2137538481" sldId="2145706658"/>
            <ac:picMk id="11" creationId="{5D54D69A-7319-4A47-8EAF-58E0202689D4}"/>
          </ac:picMkLst>
        </pc:picChg>
        <pc:picChg chg="add del mod">
          <ac:chgData name="Daniel Barnes" userId="b303a15ee67145ed" providerId="LiveId" clId="{4A5A1811-DFF2-43F5-A7A7-22A66EF04CEB}" dt="2022-03-13T21:17:37.395" v="2993" actId="478"/>
          <ac:picMkLst>
            <pc:docMk/>
            <pc:sldMk cId="2137538481" sldId="2145706658"/>
            <ac:picMk id="13" creationId="{1614A4DD-7BA2-4CC4-81C5-04D72C7C2CAF}"/>
          </ac:picMkLst>
        </pc:picChg>
      </pc:sldChg>
      <pc:sldChg chg="addSp delSp modSp del mod">
        <pc:chgData name="Daniel Barnes" userId="b303a15ee67145ed" providerId="LiveId" clId="{4A5A1811-DFF2-43F5-A7A7-22A66EF04CEB}" dt="2022-03-13T22:08:28.001" v="3632" actId="47"/>
        <pc:sldMkLst>
          <pc:docMk/>
          <pc:sldMk cId="703677797" sldId="2145706659"/>
        </pc:sldMkLst>
        <pc:spChg chg="add mod">
          <ac:chgData name="Daniel Barnes" userId="b303a15ee67145ed" providerId="LiveId" clId="{4A5A1811-DFF2-43F5-A7A7-22A66EF04CEB}" dt="2022-03-13T19:54:39.692" v="1014" actId="1076"/>
          <ac:spMkLst>
            <pc:docMk/>
            <pc:sldMk cId="703677797" sldId="2145706659"/>
            <ac:spMk id="45" creationId="{8EC6F565-658E-44CA-878B-FAF35AE9E6AA}"/>
          </ac:spMkLst>
        </pc:spChg>
        <pc:picChg chg="add del mod">
          <ac:chgData name="Daniel Barnes" userId="b303a15ee67145ed" providerId="LiveId" clId="{4A5A1811-DFF2-43F5-A7A7-22A66EF04CEB}" dt="2022-03-13T20:02:14.157" v="1075" actId="21"/>
          <ac:picMkLst>
            <pc:docMk/>
            <pc:sldMk cId="703677797" sldId="2145706659"/>
            <ac:picMk id="18" creationId="{31292026-A7EF-439B-8447-210D39B44736}"/>
          </ac:picMkLst>
        </pc:picChg>
      </pc:sldChg>
      <pc:sldChg chg="modSp del mod">
        <pc:chgData name="Daniel Barnes" userId="b303a15ee67145ed" providerId="LiveId" clId="{4A5A1811-DFF2-43F5-A7A7-22A66EF04CEB}" dt="2022-03-13T19:41:05.710" v="980" actId="47"/>
        <pc:sldMkLst>
          <pc:docMk/>
          <pc:sldMk cId="3291234092" sldId="2145706660"/>
        </pc:sldMkLst>
        <pc:spChg chg="mod">
          <ac:chgData name="Daniel Barnes" userId="b303a15ee67145ed" providerId="LiveId" clId="{4A5A1811-DFF2-43F5-A7A7-22A66EF04CEB}" dt="2022-03-13T19:20:20.757" v="245" actId="14100"/>
          <ac:spMkLst>
            <pc:docMk/>
            <pc:sldMk cId="3291234092" sldId="2145706660"/>
            <ac:spMk id="15" creationId="{13EE817D-A4E8-48C0-A58E-2B4150E27141}"/>
          </ac:spMkLst>
        </pc:spChg>
        <pc:spChg chg="mod">
          <ac:chgData name="Daniel Barnes" userId="b303a15ee67145ed" providerId="LiveId" clId="{4A5A1811-DFF2-43F5-A7A7-22A66EF04CEB}" dt="2022-03-13T19:31:35.007" v="756" actId="20577"/>
          <ac:spMkLst>
            <pc:docMk/>
            <pc:sldMk cId="3291234092" sldId="2145706660"/>
            <ac:spMk id="17" creationId="{622DA3B6-DC47-4B36-985D-C5E3E531C22F}"/>
          </ac:spMkLst>
        </pc:spChg>
      </pc:sldChg>
      <pc:sldChg chg="addSp delSp modSp add mod ord">
        <pc:chgData name="Daniel Barnes" userId="b303a15ee67145ed" providerId="LiveId" clId="{4A5A1811-DFF2-43F5-A7A7-22A66EF04CEB}" dt="2022-03-21T20:57:38.109" v="5397"/>
        <pc:sldMkLst>
          <pc:docMk/>
          <pc:sldMk cId="763365567" sldId="2145706661"/>
        </pc:sldMkLst>
        <pc:spChg chg="mod">
          <ac:chgData name="Daniel Barnes" userId="b303a15ee67145ed" providerId="LiveId" clId="{4A5A1811-DFF2-43F5-A7A7-22A66EF04CEB}" dt="2022-03-13T19:20:33.195" v="248" actId="14100"/>
          <ac:spMkLst>
            <pc:docMk/>
            <pc:sldMk cId="763365567" sldId="2145706661"/>
            <ac:spMk id="15" creationId="{13EE817D-A4E8-48C0-A58E-2B4150E27141}"/>
          </ac:spMkLst>
        </pc:spChg>
        <pc:spChg chg="mod">
          <ac:chgData name="Daniel Barnes" userId="b303a15ee67145ed" providerId="LiveId" clId="{4A5A1811-DFF2-43F5-A7A7-22A66EF04CEB}" dt="2022-03-21T20:57:38.109" v="5397"/>
          <ac:spMkLst>
            <pc:docMk/>
            <pc:sldMk cId="763365567" sldId="2145706661"/>
            <ac:spMk id="17" creationId="{622DA3B6-DC47-4B36-985D-C5E3E531C22F}"/>
          </ac:spMkLst>
        </pc:spChg>
        <pc:spChg chg="mod">
          <ac:chgData name="Daniel Barnes" userId="b303a15ee67145ed" providerId="LiveId" clId="{4A5A1811-DFF2-43F5-A7A7-22A66EF04CEB}" dt="2022-03-13T19:19:53.217" v="241" actId="20577"/>
          <ac:spMkLst>
            <pc:docMk/>
            <pc:sldMk cId="763365567" sldId="2145706661"/>
            <ac:spMk id="18" creationId="{B1F1B55C-742A-4DEB-9AC0-DEF9057B1345}"/>
          </ac:spMkLst>
        </pc:spChg>
        <pc:picChg chg="add mod">
          <ac:chgData name="Daniel Barnes" userId="b303a15ee67145ed" providerId="LiveId" clId="{4A5A1811-DFF2-43F5-A7A7-22A66EF04CEB}" dt="2022-03-13T19:20:36.988" v="249" actId="14100"/>
          <ac:picMkLst>
            <pc:docMk/>
            <pc:sldMk cId="763365567" sldId="2145706661"/>
            <ac:picMk id="2" creationId="{66828EB0-D704-4688-BB75-6EA2EB58279A}"/>
          </ac:picMkLst>
        </pc:picChg>
        <pc:picChg chg="del">
          <ac:chgData name="Daniel Barnes" userId="b303a15ee67145ed" providerId="LiveId" clId="{4A5A1811-DFF2-43F5-A7A7-22A66EF04CEB}" dt="2022-03-13T19:19:26.427" v="223" actId="478"/>
          <ac:picMkLst>
            <pc:docMk/>
            <pc:sldMk cId="763365567" sldId="2145706661"/>
            <ac:picMk id="6" creationId="{169CE947-2EEF-4189-BB22-C2D32EFD44E7}"/>
          </ac:picMkLst>
        </pc:picChg>
      </pc:sldChg>
      <pc:sldChg chg="delSp modSp add mod modClrScheme chgLayout">
        <pc:chgData name="Daniel Barnes" userId="b303a15ee67145ed" providerId="LiveId" clId="{4A5A1811-DFF2-43F5-A7A7-22A66EF04CEB}" dt="2022-04-03T12:43:38.567" v="22138" actId="20577"/>
        <pc:sldMkLst>
          <pc:docMk/>
          <pc:sldMk cId="1276081675" sldId="2145706662"/>
        </pc:sldMkLst>
        <pc:spChg chg="mod ord">
          <ac:chgData name="Daniel Barnes" userId="b303a15ee67145ed" providerId="LiveId" clId="{4A5A1811-DFF2-43F5-A7A7-22A66EF04CEB}" dt="2022-03-13T19:40:42.286" v="976" actId="700"/>
          <ac:spMkLst>
            <pc:docMk/>
            <pc:sldMk cId="1276081675" sldId="2145706662"/>
            <ac:spMk id="13" creationId="{804BABCD-5D07-421C-B8F7-FD9A7A6607C0}"/>
          </ac:spMkLst>
        </pc:spChg>
        <pc:spChg chg="mod ord">
          <ac:chgData name="Daniel Barnes" userId="b303a15ee67145ed" providerId="LiveId" clId="{4A5A1811-DFF2-43F5-A7A7-22A66EF04CEB}" dt="2022-04-03T12:43:38.567" v="22138" actId="20577"/>
          <ac:spMkLst>
            <pc:docMk/>
            <pc:sldMk cId="1276081675" sldId="2145706662"/>
            <ac:spMk id="17" creationId="{622DA3B6-DC47-4B36-985D-C5E3E531C22F}"/>
          </ac:spMkLst>
        </pc:spChg>
        <pc:spChg chg="del">
          <ac:chgData name="Daniel Barnes" userId="b303a15ee67145ed" providerId="LiveId" clId="{4A5A1811-DFF2-43F5-A7A7-22A66EF04CEB}" dt="2022-03-13T19:32:28.464" v="762" actId="478"/>
          <ac:spMkLst>
            <pc:docMk/>
            <pc:sldMk cId="1276081675" sldId="2145706662"/>
            <ac:spMk id="18" creationId="{B1F1B55C-742A-4DEB-9AC0-DEF9057B1345}"/>
          </ac:spMkLst>
        </pc:spChg>
        <pc:picChg chg="del">
          <ac:chgData name="Daniel Barnes" userId="b303a15ee67145ed" providerId="LiveId" clId="{4A5A1811-DFF2-43F5-A7A7-22A66EF04CEB}" dt="2022-03-13T19:32:05.360" v="759" actId="478"/>
          <ac:picMkLst>
            <pc:docMk/>
            <pc:sldMk cId="1276081675" sldId="2145706662"/>
            <ac:picMk id="6" creationId="{169CE947-2EEF-4189-BB22-C2D32EFD44E7}"/>
          </ac:picMkLst>
        </pc:picChg>
      </pc:sldChg>
      <pc:sldChg chg="addSp delSp modSp add mod ord">
        <pc:chgData name="Daniel Barnes" userId="b303a15ee67145ed" providerId="LiveId" clId="{4A5A1811-DFF2-43F5-A7A7-22A66EF04CEB}" dt="2022-04-03T12:51:17.437" v="22215" actId="208"/>
        <pc:sldMkLst>
          <pc:docMk/>
          <pc:sldMk cId="390523467" sldId="2145706663"/>
        </pc:sldMkLst>
        <pc:spChg chg="mod">
          <ac:chgData name="Daniel Barnes" userId="b303a15ee67145ed" providerId="LiveId" clId="{4A5A1811-DFF2-43F5-A7A7-22A66EF04CEB}" dt="2022-03-13T20:28:22.208" v="2235" actId="6549"/>
          <ac:spMkLst>
            <pc:docMk/>
            <pc:sldMk cId="390523467" sldId="2145706663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39:40.745" v="12641" actId="6549"/>
          <ac:spMkLst>
            <pc:docMk/>
            <pc:sldMk cId="390523467" sldId="2145706663"/>
            <ac:spMk id="3" creationId="{E6EB4016-53BF-47E2-8C18-4CAA9DE4C1F2}"/>
          </ac:spMkLst>
        </pc:spChg>
        <pc:spChg chg="add del mod">
          <ac:chgData name="Daniel Barnes" userId="b303a15ee67145ed" providerId="LiveId" clId="{4A5A1811-DFF2-43F5-A7A7-22A66EF04CEB}" dt="2022-03-13T20:46:38.412" v="2842" actId="478"/>
          <ac:spMkLst>
            <pc:docMk/>
            <pc:sldMk cId="390523467" sldId="2145706663"/>
            <ac:spMk id="14" creationId="{4E79F1BB-0ABB-4BCB-9649-A0C781E46BBF}"/>
          </ac:spMkLst>
        </pc:spChg>
        <pc:spChg chg="add del mod">
          <ac:chgData name="Daniel Barnes" userId="b303a15ee67145ed" providerId="LiveId" clId="{4A5A1811-DFF2-43F5-A7A7-22A66EF04CEB}" dt="2022-04-03T12:45:58.414" v="22152" actId="478"/>
          <ac:spMkLst>
            <pc:docMk/>
            <pc:sldMk cId="390523467" sldId="2145706663"/>
            <ac:spMk id="14" creationId="{D7631D40-9A0F-43F1-A995-8AA12EE28F48}"/>
          </ac:spMkLst>
        </pc:spChg>
        <pc:spChg chg="add del mod">
          <ac:chgData name="Daniel Barnes" userId="b303a15ee67145ed" providerId="LiveId" clId="{4A5A1811-DFF2-43F5-A7A7-22A66EF04CEB}" dt="2022-03-13T20:46:38.412" v="2842" actId="478"/>
          <ac:spMkLst>
            <pc:docMk/>
            <pc:sldMk cId="390523467" sldId="2145706663"/>
            <ac:spMk id="16" creationId="{4E3D8171-1CEB-4821-82E1-A99843F5ED6E}"/>
          </ac:spMkLst>
        </pc:spChg>
        <pc:spChg chg="add del mod">
          <ac:chgData name="Daniel Barnes" userId="b303a15ee67145ed" providerId="LiveId" clId="{4A5A1811-DFF2-43F5-A7A7-22A66EF04CEB}" dt="2022-03-13T20:46:38.412" v="2842" actId="478"/>
          <ac:spMkLst>
            <pc:docMk/>
            <pc:sldMk cId="390523467" sldId="2145706663"/>
            <ac:spMk id="19" creationId="{AEC95172-55FD-435B-9C98-80F6B1EECF2B}"/>
          </ac:spMkLst>
        </pc:spChg>
        <pc:spChg chg="add del mod">
          <ac:chgData name="Daniel Barnes" userId="b303a15ee67145ed" providerId="LiveId" clId="{4A5A1811-DFF2-43F5-A7A7-22A66EF04CEB}" dt="2022-03-13T22:14:28.053" v="3737" actId="478"/>
          <ac:spMkLst>
            <pc:docMk/>
            <pc:sldMk cId="390523467" sldId="2145706663"/>
            <ac:spMk id="21" creationId="{54E15FD8-D0F0-4E24-9E52-8214FA6072FF}"/>
          </ac:spMkLst>
        </pc:spChg>
        <pc:spChg chg="del mod">
          <ac:chgData name="Daniel Barnes" userId="b303a15ee67145ed" providerId="LiveId" clId="{4A5A1811-DFF2-43F5-A7A7-22A66EF04CEB}" dt="2022-03-13T20:28:12.221" v="2233" actId="478"/>
          <ac:spMkLst>
            <pc:docMk/>
            <pc:sldMk cId="390523467" sldId="2145706663"/>
            <ac:spMk id="22" creationId="{543E940A-428F-47B4-AA86-2F8DD5AD69B7}"/>
          </ac:spMkLst>
        </pc:spChg>
        <pc:spChg chg="del mod">
          <ac:chgData name="Daniel Barnes" userId="b303a15ee67145ed" providerId="LiveId" clId="{4A5A1811-DFF2-43F5-A7A7-22A66EF04CEB}" dt="2022-03-13T22:09:35.407" v="3642" actId="478"/>
          <ac:spMkLst>
            <pc:docMk/>
            <pc:sldMk cId="390523467" sldId="2145706663"/>
            <ac:spMk id="28" creationId="{F18A8B58-16F5-486A-A861-BB2353E42E2B}"/>
          </ac:spMkLst>
        </pc:spChg>
        <pc:spChg chg="del mod">
          <ac:chgData name="Daniel Barnes" userId="b303a15ee67145ed" providerId="LiveId" clId="{4A5A1811-DFF2-43F5-A7A7-22A66EF04CEB}" dt="2022-03-13T22:09:38.790" v="3643" actId="478"/>
          <ac:spMkLst>
            <pc:docMk/>
            <pc:sldMk cId="390523467" sldId="2145706663"/>
            <ac:spMk id="29" creationId="{77333FD3-B030-4DB5-BBEB-5730C8DDE987}"/>
          </ac:spMkLst>
        </pc:spChg>
        <pc:spChg chg="mod">
          <ac:chgData name="Daniel Barnes" userId="b303a15ee67145ed" providerId="LiveId" clId="{4A5A1811-DFF2-43F5-A7A7-22A66EF04CEB}" dt="2022-03-13T22:13:47.268" v="3732" actId="14100"/>
          <ac:spMkLst>
            <pc:docMk/>
            <pc:sldMk cId="390523467" sldId="2145706663"/>
            <ac:spMk id="30" creationId="{8F34BDB0-4777-4522-8383-F32F962316D1}"/>
          </ac:spMkLst>
        </pc:spChg>
        <pc:spChg chg="mod">
          <ac:chgData name="Daniel Barnes" userId="b303a15ee67145ed" providerId="LiveId" clId="{4A5A1811-DFF2-43F5-A7A7-22A66EF04CEB}" dt="2022-03-13T22:11:34.925" v="3680" actId="165"/>
          <ac:spMkLst>
            <pc:docMk/>
            <pc:sldMk cId="390523467" sldId="2145706663"/>
            <ac:spMk id="31" creationId="{D70C463A-494E-4E13-B94C-D8EA4F5BD37B}"/>
          </ac:spMkLst>
        </pc:spChg>
        <pc:spChg chg="mod">
          <ac:chgData name="Daniel Barnes" userId="b303a15ee67145ed" providerId="LiveId" clId="{4A5A1811-DFF2-43F5-A7A7-22A66EF04CEB}" dt="2022-03-13T22:13:49.819" v="3733" actId="14100"/>
          <ac:spMkLst>
            <pc:docMk/>
            <pc:sldMk cId="390523467" sldId="2145706663"/>
            <ac:spMk id="32" creationId="{CB44A4ED-C1E7-4A3C-BF29-8735A3CA16A4}"/>
          </ac:spMkLst>
        </pc:spChg>
        <pc:spChg chg="mod">
          <ac:chgData name="Daniel Barnes" userId="b303a15ee67145ed" providerId="LiveId" clId="{4A5A1811-DFF2-43F5-A7A7-22A66EF04CEB}" dt="2022-03-13T22:11:34.925" v="3680" actId="165"/>
          <ac:spMkLst>
            <pc:docMk/>
            <pc:sldMk cId="390523467" sldId="2145706663"/>
            <ac:spMk id="33" creationId="{6A5E869C-1E0D-49EF-87DC-51EC8CC3C0DB}"/>
          </ac:spMkLst>
        </pc:spChg>
        <pc:spChg chg="mod">
          <ac:chgData name="Daniel Barnes" userId="b303a15ee67145ed" providerId="LiveId" clId="{4A5A1811-DFF2-43F5-A7A7-22A66EF04CEB}" dt="2022-03-13T22:13:52.940" v="3734" actId="14100"/>
          <ac:spMkLst>
            <pc:docMk/>
            <pc:sldMk cId="390523467" sldId="2145706663"/>
            <ac:spMk id="34" creationId="{11E988FF-CE47-4A10-9650-62D654384C02}"/>
          </ac:spMkLst>
        </pc:spChg>
        <pc:spChg chg="mod">
          <ac:chgData name="Daniel Barnes" userId="b303a15ee67145ed" providerId="LiveId" clId="{4A5A1811-DFF2-43F5-A7A7-22A66EF04CEB}" dt="2022-03-13T22:11:34.925" v="3680" actId="165"/>
          <ac:spMkLst>
            <pc:docMk/>
            <pc:sldMk cId="390523467" sldId="2145706663"/>
            <ac:spMk id="35" creationId="{5C0E4D11-4DD8-44B9-9D6E-F67729B9285F}"/>
          </ac:spMkLst>
        </pc:spChg>
        <pc:spChg chg="add mod topLvl">
          <ac:chgData name="Daniel Barnes" userId="b303a15ee67145ed" providerId="LiveId" clId="{4A5A1811-DFF2-43F5-A7A7-22A66EF04CEB}" dt="2022-04-03T12:44:52.318" v="22142" actId="165"/>
          <ac:spMkLst>
            <pc:docMk/>
            <pc:sldMk cId="390523467" sldId="2145706663"/>
            <ac:spMk id="36" creationId="{E4E524EA-EA80-4A0C-9D92-2380D4F9BC81}"/>
          </ac:spMkLst>
        </pc:spChg>
        <pc:spChg chg="add mod topLvl">
          <ac:chgData name="Daniel Barnes" userId="b303a15ee67145ed" providerId="LiveId" clId="{4A5A1811-DFF2-43F5-A7A7-22A66EF04CEB}" dt="2022-04-03T12:44:52.318" v="22142" actId="165"/>
          <ac:spMkLst>
            <pc:docMk/>
            <pc:sldMk cId="390523467" sldId="2145706663"/>
            <ac:spMk id="37" creationId="{16529085-605B-4B27-AD4D-35152471B00E}"/>
          </ac:spMkLst>
        </pc:spChg>
        <pc:spChg chg="add mod topLvl">
          <ac:chgData name="Daniel Barnes" userId="b303a15ee67145ed" providerId="LiveId" clId="{4A5A1811-DFF2-43F5-A7A7-22A66EF04CEB}" dt="2022-04-03T12:44:52.318" v="22142" actId="165"/>
          <ac:spMkLst>
            <pc:docMk/>
            <pc:sldMk cId="390523467" sldId="2145706663"/>
            <ac:spMk id="38" creationId="{5C3E9F6F-F3FA-4E61-BD97-9A24F8205556}"/>
          </ac:spMkLst>
        </pc:spChg>
        <pc:spChg chg="add del">
          <ac:chgData name="Daniel Barnes" userId="b303a15ee67145ed" providerId="LiveId" clId="{4A5A1811-DFF2-43F5-A7A7-22A66EF04CEB}" dt="2022-03-13T22:21:19.816" v="3940" actId="22"/>
          <ac:spMkLst>
            <pc:docMk/>
            <pc:sldMk cId="390523467" sldId="2145706663"/>
            <ac:spMk id="39" creationId="{021D56DA-8D7E-40B5-9E89-1043759A942F}"/>
          </ac:spMkLst>
        </pc:spChg>
        <pc:spChg chg="add mod">
          <ac:chgData name="Daniel Barnes" userId="b303a15ee67145ed" providerId="LiveId" clId="{4A5A1811-DFF2-43F5-A7A7-22A66EF04CEB}" dt="2022-03-13T22:22:35.005" v="3963" actId="1036"/>
          <ac:spMkLst>
            <pc:docMk/>
            <pc:sldMk cId="390523467" sldId="2145706663"/>
            <ac:spMk id="40" creationId="{D829FF44-11A7-4AC8-842C-90953009D05A}"/>
          </ac:spMkLst>
        </pc:spChg>
        <pc:grpChg chg="add del mod">
          <ac:chgData name="Daniel Barnes" userId="b303a15ee67145ed" providerId="LiveId" clId="{4A5A1811-DFF2-43F5-A7A7-22A66EF04CEB}" dt="2022-04-03T12:44:52.318" v="22142" actId="165"/>
          <ac:grpSpMkLst>
            <pc:docMk/>
            <pc:sldMk cId="390523467" sldId="2145706663"/>
            <ac:grpSpMk id="7" creationId="{F489987B-2DB5-4306-8652-A991A3303C81}"/>
          </ac:grpSpMkLst>
        </pc:grpChg>
        <pc:grpChg chg="del mod">
          <ac:chgData name="Daniel Barnes" userId="b303a15ee67145ed" providerId="LiveId" clId="{4A5A1811-DFF2-43F5-A7A7-22A66EF04CEB}" dt="2022-03-13T20:30:23.586" v="2297" actId="165"/>
          <ac:grpSpMkLst>
            <pc:docMk/>
            <pc:sldMk cId="390523467" sldId="2145706663"/>
            <ac:grpSpMk id="18" creationId="{7E3AF57D-BCCD-42A3-A12B-13AF90E6A84F}"/>
          </ac:grpSpMkLst>
        </pc:grpChg>
        <pc:grpChg chg="add del mod">
          <ac:chgData name="Daniel Barnes" userId="b303a15ee67145ed" providerId="LiveId" clId="{4A5A1811-DFF2-43F5-A7A7-22A66EF04CEB}" dt="2022-03-13T22:11:34.925" v="3680" actId="165"/>
          <ac:grpSpMkLst>
            <pc:docMk/>
            <pc:sldMk cId="390523467" sldId="2145706663"/>
            <ac:grpSpMk id="23" creationId="{43503E6A-4D1E-470B-81D0-4843B4EA8321}"/>
          </ac:grpSpMkLst>
        </pc:grpChg>
        <pc:grpChg chg="del mod topLvl">
          <ac:chgData name="Daniel Barnes" userId="b303a15ee67145ed" providerId="LiveId" clId="{4A5A1811-DFF2-43F5-A7A7-22A66EF04CEB}" dt="2022-03-13T22:15:57.509" v="3880" actId="478"/>
          <ac:grpSpMkLst>
            <pc:docMk/>
            <pc:sldMk cId="390523467" sldId="2145706663"/>
            <ac:grpSpMk id="24" creationId="{BF6FDEE3-DC45-40DA-9CFD-92F72DF26F1B}"/>
          </ac:grpSpMkLst>
        </pc:grpChg>
        <pc:grpChg chg="del mod topLvl">
          <ac:chgData name="Daniel Barnes" userId="b303a15ee67145ed" providerId="LiveId" clId="{4A5A1811-DFF2-43F5-A7A7-22A66EF04CEB}" dt="2022-03-13T22:15:57.509" v="3880" actId="478"/>
          <ac:grpSpMkLst>
            <pc:docMk/>
            <pc:sldMk cId="390523467" sldId="2145706663"/>
            <ac:grpSpMk id="25" creationId="{A743F824-069F-420C-B2D7-AA38763F97F4}"/>
          </ac:grpSpMkLst>
        </pc:grpChg>
        <pc:grpChg chg="del mod topLvl">
          <ac:chgData name="Daniel Barnes" userId="b303a15ee67145ed" providerId="LiveId" clId="{4A5A1811-DFF2-43F5-A7A7-22A66EF04CEB}" dt="2022-03-13T22:15:57.509" v="3880" actId="478"/>
          <ac:grpSpMkLst>
            <pc:docMk/>
            <pc:sldMk cId="390523467" sldId="2145706663"/>
            <ac:grpSpMk id="26" creationId="{85E36AB5-7277-42ED-8AFC-E2FEBF0FA1DA}"/>
          </ac:grpSpMkLst>
        </pc:grpChg>
        <pc:grpChg chg="del mod">
          <ac:chgData name="Daniel Barnes" userId="b303a15ee67145ed" providerId="LiveId" clId="{4A5A1811-DFF2-43F5-A7A7-22A66EF04CEB}" dt="2022-03-13T22:09:35.407" v="3642" actId="478"/>
          <ac:grpSpMkLst>
            <pc:docMk/>
            <pc:sldMk cId="390523467" sldId="2145706663"/>
            <ac:grpSpMk id="27" creationId="{DA5834CA-D884-49F1-A6F2-B87EAC494434}"/>
          </ac:grpSpMkLst>
        </pc:grpChg>
        <pc:picChg chg="mod topLvl">
          <ac:chgData name="Daniel Barnes" userId="b303a15ee67145ed" providerId="LiveId" clId="{4A5A1811-DFF2-43F5-A7A7-22A66EF04CEB}" dt="2022-04-03T12:51:13.719" v="22214" actId="208"/>
          <ac:picMkLst>
            <pc:docMk/>
            <pc:sldMk cId="390523467" sldId="2145706663"/>
            <ac:picMk id="5" creationId="{93C5F980-31E5-4580-9422-C5A526F73EC4}"/>
          </ac:picMkLst>
        </pc:picChg>
        <pc:picChg chg="mod">
          <ac:chgData name="Daniel Barnes" userId="b303a15ee67145ed" providerId="LiveId" clId="{4A5A1811-DFF2-43F5-A7A7-22A66EF04CEB}" dt="2022-04-03T12:44:04.428" v="22139" actId="108"/>
          <ac:picMkLst>
            <pc:docMk/>
            <pc:sldMk cId="390523467" sldId="2145706663"/>
            <ac:picMk id="6" creationId="{A6EACE13-983B-4AA9-AF1D-0A7DDB3CF7DE}"/>
          </ac:picMkLst>
        </pc:picChg>
        <pc:picChg chg="mod topLvl">
          <ac:chgData name="Daniel Barnes" userId="b303a15ee67145ed" providerId="LiveId" clId="{4A5A1811-DFF2-43F5-A7A7-22A66EF04CEB}" dt="2022-04-03T12:51:17.437" v="22215" actId="208"/>
          <ac:picMkLst>
            <pc:docMk/>
            <pc:sldMk cId="390523467" sldId="2145706663"/>
            <ac:picMk id="11" creationId="{E6D63F86-D0FD-4554-B688-B52D6F26C5F5}"/>
          </ac:picMkLst>
        </pc:picChg>
        <pc:picChg chg="mod topLvl">
          <ac:chgData name="Daniel Barnes" userId="b303a15ee67145ed" providerId="LiveId" clId="{4A5A1811-DFF2-43F5-A7A7-22A66EF04CEB}" dt="2022-04-03T12:51:17.437" v="22215" actId="208"/>
          <ac:picMkLst>
            <pc:docMk/>
            <pc:sldMk cId="390523467" sldId="2145706663"/>
            <ac:picMk id="13" creationId="{B7FA7808-D5FF-4F87-9A51-4A6DD912A9E0}"/>
          </ac:picMkLst>
        </pc:picChg>
        <pc:picChg chg="del">
          <ac:chgData name="Daniel Barnes" userId="b303a15ee67145ed" providerId="LiveId" clId="{4A5A1811-DFF2-43F5-A7A7-22A66EF04CEB}" dt="2022-03-13T20:30:18.621" v="2294" actId="478"/>
          <ac:picMkLst>
            <pc:docMk/>
            <pc:sldMk cId="390523467" sldId="2145706663"/>
            <ac:picMk id="15" creationId="{C3830511-C957-4952-AB09-8E969DBA71E1}"/>
          </ac:picMkLst>
        </pc:picChg>
        <pc:picChg chg="del mod">
          <ac:chgData name="Daniel Barnes" userId="b303a15ee67145ed" providerId="LiveId" clId="{4A5A1811-DFF2-43F5-A7A7-22A66EF04CEB}" dt="2022-03-13T20:30:18.251" v="2293" actId="478"/>
          <ac:picMkLst>
            <pc:docMk/>
            <pc:sldMk cId="390523467" sldId="2145706663"/>
            <ac:picMk id="17" creationId="{1AD7F3D1-90B6-4134-8857-3B06F3ACD75B}"/>
          </ac:picMkLst>
        </pc:picChg>
        <pc:picChg chg="del">
          <ac:chgData name="Daniel Barnes" userId="b303a15ee67145ed" providerId="LiveId" clId="{4A5A1811-DFF2-43F5-A7A7-22A66EF04CEB}" dt="2022-03-13T20:30:19.411" v="2295" actId="478"/>
          <ac:picMkLst>
            <pc:docMk/>
            <pc:sldMk cId="390523467" sldId="2145706663"/>
            <ac:picMk id="20" creationId="{5175496B-53CE-4EE1-83CF-AF3B8527CAE8}"/>
          </ac:picMkLst>
        </pc:picChg>
      </pc:sldChg>
      <pc:sldChg chg="add del">
        <pc:chgData name="Daniel Barnes" userId="b303a15ee67145ed" providerId="LiveId" clId="{4A5A1811-DFF2-43F5-A7A7-22A66EF04CEB}" dt="2022-03-13T21:19:13.098" v="3054" actId="47"/>
        <pc:sldMkLst>
          <pc:docMk/>
          <pc:sldMk cId="2084810653" sldId="2145706664"/>
        </pc:sldMkLst>
      </pc:sldChg>
      <pc:sldChg chg="delSp modSp add del mod">
        <pc:chgData name="Daniel Barnes" userId="b303a15ee67145ed" providerId="LiveId" clId="{4A5A1811-DFF2-43F5-A7A7-22A66EF04CEB}" dt="2022-03-13T20:33:45.666" v="2345" actId="47"/>
        <pc:sldMkLst>
          <pc:docMk/>
          <pc:sldMk cId="2480844226" sldId="2145706664"/>
        </pc:sldMkLst>
        <pc:spChg chg="mod">
          <ac:chgData name="Daniel Barnes" userId="b303a15ee67145ed" providerId="LiveId" clId="{4A5A1811-DFF2-43F5-A7A7-22A66EF04CEB}" dt="2022-03-13T20:33:37.042" v="2343"/>
          <ac:spMkLst>
            <pc:docMk/>
            <pc:sldMk cId="2480844226" sldId="2145706664"/>
            <ac:spMk id="3" creationId="{E6EB4016-53BF-47E2-8C18-4CAA9DE4C1F2}"/>
          </ac:spMkLst>
        </pc:spChg>
        <pc:picChg chg="del">
          <ac:chgData name="Daniel Barnes" userId="b303a15ee67145ed" providerId="LiveId" clId="{4A5A1811-DFF2-43F5-A7A7-22A66EF04CEB}" dt="2022-03-13T20:33:38.421" v="2344" actId="478"/>
          <ac:picMkLst>
            <pc:docMk/>
            <pc:sldMk cId="2480844226" sldId="2145706664"/>
            <ac:picMk id="6" creationId="{A6EACE13-983B-4AA9-AF1D-0A7DDB3CF7DE}"/>
          </ac:picMkLst>
        </pc:picChg>
      </pc:sldChg>
      <pc:sldChg chg="modSp add del mod">
        <pc:chgData name="Daniel Barnes" userId="b303a15ee67145ed" providerId="LiveId" clId="{4A5A1811-DFF2-43F5-A7A7-22A66EF04CEB}" dt="2022-03-13T20:33:11.990" v="2336" actId="47"/>
        <pc:sldMkLst>
          <pc:docMk/>
          <pc:sldMk cId="3000719252" sldId="2145706664"/>
        </pc:sldMkLst>
        <pc:spChg chg="mod">
          <ac:chgData name="Daniel Barnes" userId="b303a15ee67145ed" providerId="LiveId" clId="{4A5A1811-DFF2-43F5-A7A7-22A66EF04CEB}" dt="2022-03-13T20:31:20.958" v="2321" actId="20577"/>
          <ac:spMkLst>
            <pc:docMk/>
            <pc:sldMk cId="3000719252" sldId="2145706664"/>
            <ac:spMk id="3" creationId="{E6EB4016-53BF-47E2-8C18-4CAA9DE4C1F2}"/>
          </ac:spMkLst>
        </pc:spChg>
        <pc:picChg chg="mod">
          <ac:chgData name="Daniel Barnes" userId="b303a15ee67145ed" providerId="LiveId" clId="{4A5A1811-DFF2-43F5-A7A7-22A66EF04CEB}" dt="2022-03-13T20:31:25.541" v="2322" actId="1076"/>
          <ac:picMkLst>
            <pc:docMk/>
            <pc:sldMk cId="3000719252" sldId="2145706664"/>
            <ac:picMk id="6" creationId="{A6EACE13-983B-4AA9-AF1D-0A7DDB3CF7DE}"/>
          </ac:picMkLst>
        </pc:picChg>
      </pc:sldChg>
      <pc:sldChg chg="delSp modSp add mod">
        <pc:chgData name="Daniel Barnes" userId="b303a15ee67145ed" providerId="LiveId" clId="{4A5A1811-DFF2-43F5-A7A7-22A66EF04CEB}" dt="2022-04-03T13:01:31.704" v="22338" actId="14100"/>
        <pc:sldMkLst>
          <pc:docMk/>
          <pc:sldMk cId="2192887166" sldId="2145706665"/>
        </pc:sldMkLst>
        <pc:spChg chg="mod">
          <ac:chgData name="Daniel Barnes" userId="b303a15ee67145ed" providerId="LiveId" clId="{4A5A1811-DFF2-43F5-A7A7-22A66EF04CEB}" dt="2022-03-13T21:02:34.877" v="2914" actId="20577"/>
          <ac:spMkLst>
            <pc:docMk/>
            <pc:sldMk cId="2192887166" sldId="2145706665"/>
            <ac:spMk id="12" creationId="{C21099A1-48BE-40EF-8C62-B563FE680D62}"/>
          </ac:spMkLst>
        </pc:spChg>
        <pc:picChg chg="del">
          <ac:chgData name="Daniel Barnes" userId="b303a15ee67145ed" providerId="LiveId" clId="{4A5A1811-DFF2-43F5-A7A7-22A66EF04CEB}" dt="2022-03-13T21:01:41.979" v="2883" actId="478"/>
          <ac:picMkLst>
            <pc:docMk/>
            <pc:sldMk cId="2192887166" sldId="2145706665"/>
            <ac:picMk id="7" creationId="{5A96DB54-4D55-4150-8DD2-158F32CB9916}"/>
          </ac:picMkLst>
        </pc:picChg>
        <pc:picChg chg="del">
          <ac:chgData name="Daniel Barnes" userId="b303a15ee67145ed" providerId="LiveId" clId="{4A5A1811-DFF2-43F5-A7A7-22A66EF04CEB}" dt="2022-03-13T21:01:42.467" v="2884" actId="478"/>
          <ac:picMkLst>
            <pc:docMk/>
            <pc:sldMk cId="2192887166" sldId="2145706665"/>
            <ac:picMk id="13" creationId="{67AB1F17-A38D-4E7C-AAB2-97CFE9E724F5}"/>
          </ac:picMkLst>
        </pc:picChg>
        <pc:picChg chg="mod">
          <ac:chgData name="Daniel Barnes" userId="b303a15ee67145ed" providerId="LiveId" clId="{4A5A1811-DFF2-43F5-A7A7-22A66EF04CEB}" dt="2022-04-03T13:01:27.686" v="22337" actId="14100"/>
          <ac:picMkLst>
            <pc:docMk/>
            <pc:sldMk cId="2192887166" sldId="2145706665"/>
            <ac:picMk id="14" creationId="{43B9C8A0-8640-47D3-B185-30DC8761039E}"/>
          </ac:picMkLst>
        </pc:picChg>
        <pc:picChg chg="mod">
          <ac:chgData name="Daniel Barnes" userId="b303a15ee67145ed" providerId="LiveId" clId="{4A5A1811-DFF2-43F5-A7A7-22A66EF04CEB}" dt="2022-04-03T13:01:31.704" v="22338" actId="14100"/>
          <ac:picMkLst>
            <pc:docMk/>
            <pc:sldMk cId="2192887166" sldId="2145706665"/>
            <ac:picMk id="16" creationId="{A325448A-C384-4DF2-B9BF-A96687A7C9EF}"/>
          </ac:picMkLst>
        </pc:picChg>
        <pc:picChg chg="mod">
          <ac:chgData name="Daniel Barnes" userId="b303a15ee67145ed" providerId="LiveId" clId="{4A5A1811-DFF2-43F5-A7A7-22A66EF04CEB}" dt="2022-04-03T13:01:02.690" v="22330" actId="208"/>
          <ac:picMkLst>
            <pc:docMk/>
            <pc:sldMk cId="2192887166" sldId="2145706665"/>
            <ac:picMk id="19" creationId="{D7E53016-BAA8-40A7-B983-27AD4344024D}"/>
          </ac:picMkLst>
        </pc:picChg>
      </pc:sldChg>
      <pc:sldChg chg="addSp delSp modSp add mod">
        <pc:chgData name="Daniel Barnes" userId="b303a15ee67145ed" providerId="LiveId" clId="{4A5A1811-DFF2-43F5-A7A7-22A66EF04CEB}" dt="2022-04-03T13:01:22.508" v="22336" actId="14100"/>
        <pc:sldMkLst>
          <pc:docMk/>
          <pc:sldMk cId="1523390239" sldId="2145706666"/>
        </pc:sldMkLst>
        <pc:spChg chg="mod">
          <ac:chgData name="Daniel Barnes" userId="b303a15ee67145ed" providerId="LiveId" clId="{4A5A1811-DFF2-43F5-A7A7-22A66EF04CEB}" dt="2022-03-13T21:18:57.636" v="3052" actId="14100"/>
          <ac:spMkLst>
            <pc:docMk/>
            <pc:sldMk cId="1523390239" sldId="2145706666"/>
            <ac:spMk id="8" creationId="{225F96D5-27AA-4B7D-BE40-8798D1CCEA6F}"/>
          </ac:spMkLst>
        </pc:spChg>
        <pc:picChg chg="add del mod">
          <ac:chgData name="Daniel Barnes" userId="b303a15ee67145ed" providerId="LiveId" clId="{4A5A1811-DFF2-43F5-A7A7-22A66EF04CEB}" dt="2022-03-13T21:17:11.257" v="2984" actId="478"/>
          <ac:picMkLst>
            <pc:docMk/>
            <pc:sldMk cId="1523390239" sldId="2145706666"/>
            <ac:picMk id="4" creationId="{9C5FFD87-EBE2-4D80-B193-E35D44FF2CFF}"/>
          </ac:picMkLst>
        </pc:picChg>
        <pc:picChg chg="del">
          <ac:chgData name="Daniel Barnes" userId="b303a15ee67145ed" providerId="LiveId" clId="{4A5A1811-DFF2-43F5-A7A7-22A66EF04CEB}" dt="2022-03-13T21:17:12.569" v="2985" actId="478"/>
          <ac:picMkLst>
            <pc:docMk/>
            <pc:sldMk cId="1523390239" sldId="2145706666"/>
            <ac:picMk id="5" creationId="{AD6453D6-0146-4E9E-9C98-0BDB3365BCA2}"/>
          </ac:picMkLst>
        </pc:picChg>
        <pc:picChg chg="add mod modCrop">
          <ac:chgData name="Daniel Barnes" userId="b303a15ee67145ed" providerId="LiveId" clId="{4A5A1811-DFF2-43F5-A7A7-22A66EF04CEB}" dt="2022-04-03T13:01:22.508" v="22336" actId="14100"/>
          <ac:picMkLst>
            <pc:docMk/>
            <pc:sldMk cId="1523390239" sldId="2145706666"/>
            <ac:picMk id="6" creationId="{F773C304-83A3-4986-BB7D-679AC41AE32B}"/>
          </ac:picMkLst>
        </pc:picChg>
        <pc:picChg chg="del">
          <ac:chgData name="Daniel Barnes" userId="b303a15ee67145ed" providerId="LiveId" clId="{4A5A1811-DFF2-43F5-A7A7-22A66EF04CEB}" dt="2022-03-13T21:13:15.881" v="2959" actId="478"/>
          <ac:picMkLst>
            <pc:docMk/>
            <pc:sldMk cId="1523390239" sldId="2145706666"/>
            <ac:picMk id="7" creationId="{4B5F953C-0839-4970-9488-ABB66927F2E0}"/>
          </ac:picMkLst>
        </pc:picChg>
        <pc:picChg chg="add mod modCrop">
          <ac:chgData name="Daniel Barnes" userId="b303a15ee67145ed" providerId="LiveId" clId="{4A5A1811-DFF2-43F5-A7A7-22A66EF04CEB}" dt="2022-04-03T13:01:19.725" v="22335" actId="14100"/>
          <ac:picMkLst>
            <pc:docMk/>
            <pc:sldMk cId="1523390239" sldId="2145706666"/>
            <ac:picMk id="10" creationId="{F2AC72B9-BD42-4F36-881C-B985120BAC1D}"/>
          </ac:picMkLst>
        </pc:picChg>
        <pc:picChg chg="del">
          <ac:chgData name="Daniel Barnes" userId="b303a15ee67145ed" providerId="LiveId" clId="{4A5A1811-DFF2-43F5-A7A7-22A66EF04CEB}" dt="2022-03-13T21:12:17.305" v="2948" actId="478"/>
          <ac:picMkLst>
            <pc:docMk/>
            <pc:sldMk cId="1523390239" sldId="2145706666"/>
            <ac:picMk id="11" creationId="{5D54D69A-7319-4A47-8EAF-58E0202689D4}"/>
          </ac:picMkLst>
        </pc:picChg>
        <pc:picChg chg="del">
          <ac:chgData name="Daniel Barnes" userId="b303a15ee67145ed" providerId="LiveId" clId="{4A5A1811-DFF2-43F5-A7A7-22A66EF04CEB}" dt="2022-03-13T21:12:16.706" v="2947" actId="478"/>
          <ac:picMkLst>
            <pc:docMk/>
            <pc:sldMk cId="1523390239" sldId="2145706666"/>
            <ac:picMk id="13" creationId="{1614A4DD-7BA2-4CC4-81C5-04D72C7C2CAF}"/>
          </ac:picMkLst>
        </pc:picChg>
      </pc:sldChg>
      <pc:sldChg chg="add del">
        <pc:chgData name="Daniel Barnes" userId="b303a15ee67145ed" providerId="LiveId" clId="{4A5A1811-DFF2-43F5-A7A7-22A66EF04CEB}" dt="2022-03-13T21:48:32.676" v="3365" actId="47"/>
        <pc:sldMkLst>
          <pc:docMk/>
          <pc:sldMk cId="4142188488" sldId="2145706667"/>
        </pc:sldMkLst>
      </pc:sldChg>
      <pc:sldChg chg="addSp delSp modSp add mod">
        <pc:chgData name="Daniel Barnes" userId="b303a15ee67145ed" providerId="LiveId" clId="{4A5A1811-DFF2-43F5-A7A7-22A66EF04CEB}" dt="2022-04-03T12:59:56" v="22328" actId="1582"/>
        <pc:sldMkLst>
          <pc:docMk/>
          <pc:sldMk cId="2020206238" sldId="2145706668"/>
        </pc:sldMkLst>
        <pc:spChg chg="add del mod">
          <ac:chgData name="Daniel Barnes" userId="b303a15ee67145ed" providerId="LiveId" clId="{4A5A1811-DFF2-43F5-A7A7-22A66EF04CEB}" dt="2022-03-13T21:38:47.536" v="3239" actId="478"/>
          <ac:spMkLst>
            <pc:docMk/>
            <pc:sldMk cId="2020206238" sldId="2145706668"/>
            <ac:spMk id="3" creationId="{3222243B-9CB8-4AC7-B767-69B615E29FE7}"/>
          </ac:spMkLst>
        </pc:spChg>
        <pc:spChg chg="del">
          <ac:chgData name="Daniel Barnes" userId="b303a15ee67145ed" providerId="LiveId" clId="{4A5A1811-DFF2-43F5-A7A7-22A66EF04CEB}" dt="2022-03-13T22:23:45.341" v="3978" actId="478"/>
          <ac:spMkLst>
            <pc:docMk/>
            <pc:sldMk cId="2020206238" sldId="2145706668"/>
            <ac:spMk id="4" creationId="{0A59B4AA-DDE8-4B16-86B5-B1092731D592}"/>
          </ac:spMkLst>
        </pc:spChg>
        <pc:spChg chg="add del mod">
          <ac:chgData name="Daniel Barnes" userId="b303a15ee67145ed" providerId="LiveId" clId="{4A5A1811-DFF2-43F5-A7A7-22A66EF04CEB}" dt="2022-03-13T21:38:47.971" v="3240" actId="478"/>
          <ac:spMkLst>
            <pc:docMk/>
            <pc:sldMk cId="2020206238" sldId="2145706668"/>
            <ac:spMk id="45" creationId="{A1F851B2-98F5-4A67-9458-1AB17A92B6C5}"/>
          </ac:spMkLst>
        </pc:spChg>
        <pc:spChg chg="add del mod">
          <ac:chgData name="Daniel Barnes" userId="b303a15ee67145ed" providerId="LiveId" clId="{4A5A1811-DFF2-43F5-A7A7-22A66EF04CEB}" dt="2022-03-13T21:38:48.488" v="3241" actId="478"/>
          <ac:spMkLst>
            <pc:docMk/>
            <pc:sldMk cId="2020206238" sldId="2145706668"/>
            <ac:spMk id="46" creationId="{CDA20967-5CEA-4F0A-9384-D5696224DFF6}"/>
          </ac:spMkLst>
        </pc:spChg>
        <pc:spChg chg="add del mod">
          <ac:chgData name="Daniel Barnes" userId="b303a15ee67145ed" providerId="LiveId" clId="{4A5A1811-DFF2-43F5-A7A7-22A66EF04CEB}" dt="2022-03-13T21:38:49.112" v="3242" actId="478"/>
          <ac:spMkLst>
            <pc:docMk/>
            <pc:sldMk cId="2020206238" sldId="2145706668"/>
            <ac:spMk id="47" creationId="{F6EF15FB-D07A-4A9A-868C-35542AECFAA3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49" creationId="{348FC604-8C3D-4616-95EF-3203914585E9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50" creationId="{58965565-6E39-4D45-B838-1ECC082CAF90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52" creationId="{54964CCB-5F31-44B8-9FD8-92709E6E4444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53" creationId="{CBA7A896-5CE5-441B-8BBF-6ED54F7AB1F5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55" creationId="{E5EA6EAC-B042-45AB-95D5-3459D839E8C4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56" creationId="{E833D2F4-8C2B-41CE-909E-178131A2E9F9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58" creationId="{32F23D4D-BEE3-44D0-8A28-3CCD10F60D27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59" creationId="{F85A1FB2-DDC9-43C5-A8F6-3D02A3C5F736}"/>
          </ac:spMkLst>
        </pc:spChg>
        <pc:spChg chg="add del mod">
          <ac:chgData name="Daniel Barnes" userId="b303a15ee67145ed" providerId="LiveId" clId="{4A5A1811-DFF2-43F5-A7A7-22A66EF04CEB}" dt="2022-03-13T21:39:50.808" v="3255" actId="478"/>
          <ac:spMkLst>
            <pc:docMk/>
            <pc:sldMk cId="2020206238" sldId="2145706668"/>
            <ac:spMk id="60" creationId="{CD5107D0-C6F1-48FC-8676-4AF779596535}"/>
          </ac:spMkLst>
        </pc:spChg>
        <pc:spChg chg="add del mod">
          <ac:chgData name="Daniel Barnes" userId="b303a15ee67145ed" providerId="LiveId" clId="{4A5A1811-DFF2-43F5-A7A7-22A66EF04CEB}" dt="2022-03-13T21:39:50.400" v="3254" actId="478"/>
          <ac:spMkLst>
            <pc:docMk/>
            <pc:sldMk cId="2020206238" sldId="2145706668"/>
            <ac:spMk id="61" creationId="{BFD9F1BA-D4FC-4369-AB3C-3D69B923103A}"/>
          </ac:spMkLst>
        </pc:spChg>
        <pc:spChg chg="add mod">
          <ac:chgData name="Daniel Barnes" userId="b303a15ee67145ed" providerId="LiveId" clId="{4A5A1811-DFF2-43F5-A7A7-22A66EF04CEB}" dt="2022-03-13T21:41:59.091" v="3277"/>
          <ac:spMkLst>
            <pc:docMk/>
            <pc:sldMk cId="2020206238" sldId="2145706668"/>
            <ac:spMk id="63" creationId="{E2231560-61DE-4271-9A77-24A34B1B220C}"/>
          </ac:spMkLst>
        </pc:spChg>
        <pc:spChg chg="add mod">
          <ac:chgData name="Daniel Barnes" userId="b303a15ee67145ed" providerId="LiveId" clId="{4A5A1811-DFF2-43F5-A7A7-22A66EF04CEB}" dt="2022-03-13T21:45:36.372" v="3322" actId="164"/>
          <ac:spMkLst>
            <pc:docMk/>
            <pc:sldMk cId="2020206238" sldId="2145706668"/>
            <ac:spMk id="64" creationId="{65A5E703-357F-4EF5-B517-4985A9130901}"/>
          </ac:spMkLst>
        </pc:spChg>
        <pc:spChg chg="add mod">
          <ac:chgData name="Daniel Barnes" userId="b303a15ee67145ed" providerId="LiveId" clId="{4A5A1811-DFF2-43F5-A7A7-22A66EF04CEB}" dt="2022-03-13T21:58:12.048" v="3477" actId="404"/>
          <ac:spMkLst>
            <pc:docMk/>
            <pc:sldMk cId="2020206238" sldId="2145706668"/>
            <ac:spMk id="65" creationId="{FD57F5A6-0768-4894-BEB3-23DC34CCF171}"/>
          </ac:spMkLst>
        </pc:spChg>
        <pc:spChg chg="add del mod">
          <ac:chgData name="Daniel Barnes" userId="b303a15ee67145ed" providerId="LiveId" clId="{4A5A1811-DFF2-43F5-A7A7-22A66EF04CEB}" dt="2022-03-13T21:45:28.913" v="3321" actId="478"/>
          <ac:spMkLst>
            <pc:docMk/>
            <pc:sldMk cId="2020206238" sldId="2145706668"/>
            <ac:spMk id="66" creationId="{C83E0D1A-58CA-4B86-A571-86721B627B24}"/>
          </ac:spMkLst>
        </pc:spChg>
        <pc:spChg chg="add del mod">
          <ac:chgData name="Daniel Barnes" userId="b303a15ee67145ed" providerId="LiveId" clId="{4A5A1811-DFF2-43F5-A7A7-22A66EF04CEB}" dt="2022-03-13T21:45:28.913" v="3321" actId="478"/>
          <ac:spMkLst>
            <pc:docMk/>
            <pc:sldMk cId="2020206238" sldId="2145706668"/>
            <ac:spMk id="67" creationId="{62981E48-1F29-4779-B4C0-27E6B3C455AC}"/>
          </ac:spMkLst>
        </pc:spChg>
        <pc:spChg chg="add del mod">
          <ac:chgData name="Daniel Barnes" userId="b303a15ee67145ed" providerId="LiveId" clId="{4A5A1811-DFF2-43F5-A7A7-22A66EF04CEB}" dt="2022-03-13T21:45:28.913" v="3321" actId="478"/>
          <ac:spMkLst>
            <pc:docMk/>
            <pc:sldMk cId="2020206238" sldId="2145706668"/>
            <ac:spMk id="68" creationId="{1290B3E7-0F25-47BD-8949-E3E2D8FB5144}"/>
          </ac:spMkLst>
        </pc:spChg>
        <pc:spChg chg="add del mod">
          <ac:chgData name="Daniel Barnes" userId="b303a15ee67145ed" providerId="LiveId" clId="{4A5A1811-DFF2-43F5-A7A7-22A66EF04CEB}" dt="2022-03-13T21:45:28.913" v="3321" actId="478"/>
          <ac:spMkLst>
            <pc:docMk/>
            <pc:sldMk cId="2020206238" sldId="2145706668"/>
            <ac:spMk id="69" creationId="{2A7673DC-212A-4103-8EDE-79E908D679B6}"/>
          </ac:spMkLst>
        </pc:spChg>
        <pc:spChg chg="mod">
          <ac:chgData name="Daniel Barnes" userId="b303a15ee67145ed" providerId="LiveId" clId="{4A5A1811-DFF2-43F5-A7A7-22A66EF04CEB}" dt="2022-03-13T21:48:04.985" v="3364" actId="207"/>
          <ac:spMkLst>
            <pc:docMk/>
            <pc:sldMk cId="2020206238" sldId="2145706668"/>
            <ac:spMk id="72" creationId="{DC1BC811-1AB8-44D5-AE89-6B3B0BEE0976}"/>
          </ac:spMkLst>
        </pc:spChg>
        <pc:spChg chg="mod">
          <ac:chgData name="Daniel Barnes" userId="b303a15ee67145ed" providerId="LiveId" clId="{4A5A1811-DFF2-43F5-A7A7-22A66EF04CEB}" dt="2022-03-13T21:58:16.610" v="3479" actId="404"/>
          <ac:spMkLst>
            <pc:docMk/>
            <pc:sldMk cId="2020206238" sldId="2145706668"/>
            <ac:spMk id="73" creationId="{36B7E9F0-44CA-4F36-ADA8-156F71E52419}"/>
          </ac:spMkLst>
        </pc:spChg>
        <pc:spChg chg="mod">
          <ac:chgData name="Daniel Barnes" userId="b303a15ee67145ed" providerId="LiveId" clId="{4A5A1811-DFF2-43F5-A7A7-22A66EF04CEB}" dt="2022-03-13T21:47:15.071" v="3347" actId="14100"/>
          <ac:spMkLst>
            <pc:docMk/>
            <pc:sldMk cId="2020206238" sldId="2145706668"/>
            <ac:spMk id="75" creationId="{1C6252E2-606D-4907-8C99-DEA8C3F3654C}"/>
          </ac:spMkLst>
        </pc:spChg>
        <pc:spChg chg="mod">
          <ac:chgData name="Daniel Barnes" userId="b303a15ee67145ed" providerId="LiveId" clId="{4A5A1811-DFF2-43F5-A7A7-22A66EF04CEB}" dt="2022-03-13T21:58:19.434" v="3481" actId="404"/>
          <ac:spMkLst>
            <pc:docMk/>
            <pc:sldMk cId="2020206238" sldId="2145706668"/>
            <ac:spMk id="76" creationId="{733A18F6-5932-4DE6-B681-CE6A21D572FA}"/>
          </ac:spMkLst>
        </pc:spChg>
        <pc:spChg chg="mod">
          <ac:chgData name="Daniel Barnes" userId="b303a15ee67145ed" providerId="LiveId" clId="{4A5A1811-DFF2-43F5-A7A7-22A66EF04CEB}" dt="2022-03-13T21:47:05.200" v="3344" actId="14100"/>
          <ac:spMkLst>
            <pc:docMk/>
            <pc:sldMk cId="2020206238" sldId="2145706668"/>
            <ac:spMk id="78" creationId="{BD331684-A308-4CCB-8AE8-62715ED400F4}"/>
          </ac:spMkLst>
        </pc:spChg>
        <pc:spChg chg="mod">
          <ac:chgData name="Daniel Barnes" userId="b303a15ee67145ed" providerId="LiveId" clId="{4A5A1811-DFF2-43F5-A7A7-22A66EF04CEB}" dt="2022-03-13T21:58:22.094" v="3483" actId="404"/>
          <ac:spMkLst>
            <pc:docMk/>
            <pc:sldMk cId="2020206238" sldId="2145706668"/>
            <ac:spMk id="79" creationId="{5BE57BA1-DE81-4A82-9DE8-7E7F7A170213}"/>
          </ac:spMkLst>
        </pc:spChg>
        <pc:spChg chg="add mod">
          <ac:chgData name="Daniel Barnes" userId="b303a15ee67145ed" providerId="LiveId" clId="{4A5A1811-DFF2-43F5-A7A7-22A66EF04CEB}" dt="2022-03-13T22:23:35.044" v="3977"/>
          <ac:spMkLst>
            <pc:docMk/>
            <pc:sldMk cId="2020206238" sldId="2145706668"/>
            <ac:spMk id="81" creationId="{BD94C877-BB54-423D-BFB8-3013BA1E88AE}"/>
          </ac:spMkLst>
        </pc:spChg>
        <pc:spChg chg="mod">
          <ac:chgData name="Daniel Barnes" userId="b303a15ee67145ed" providerId="LiveId" clId="{4A5A1811-DFF2-43F5-A7A7-22A66EF04CEB}" dt="2022-04-03T12:59:42.942" v="22326" actId="1582"/>
          <ac:spMkLst>
            <pc:docMk/>
            <pc:sldMk cId="2020206238" sldId="2145706668"/>
            <ac:spMk id="89" creationId="{7F77E3BE-FFD1-49D0-912B-FD6FB1D4A716}"/>
          </ac:spMkLst>
        </pc:spChg>
        <pc:spChg chg="mod">
          <ac:chgData name="Daniel Barnes" userId="b303a15ee67145ed" providerId="LiveId" clId="{4A5A1811-DFF2-43F5-A7A7-22A66EF04CEB}" dt="2022-04-03T12:59:37.407" v="22325" actId="1582"/>
          <ac:spMkLst>
            <pc:docMk/>
            <pc:sldMk cId="2020206238" sldId="2145706668"/>
            <ac:spMk id="93" creationId="{5887B57B-681F-4AFC-A510-8BB5A325AEEC}"/>
          </ac:spMkLst>
        </pc:spChg>
        <pc:spChg chg="mod">
          <ac:chgData name="Daniel Barnes" userId="b303a15ee67145ed" providerId="LiveId" clId="{4A5A1811-DFF2-43F5-A7A7-22A66EF04CEB}" dt="2022-04-03T12:59:50.097" v="22327" actId="1582"/>
          <ac:spMkLst>
            <pc:docMk/>
            <pc:sldMk cId="2020206238" sldId="2145706668"/>
            <ac:spMk id="94" creationId="{12364969-3AD7-48C4-8FC6-EC50B8447038}"/>
          </ac:spMkLst>
        </pc:spChg>
        <pc:spChg chg="mod">
          <ac:chgData name="Daniel Barnes" userId="b303a15ee67145ed" providerId="LiveId" clId="{4A5A1811-DFF2-43F5-A7A7-22A66EF04CEB}" dt="2022-04-03T12:59:56" v="22328" actId="1582"/>
          <ac:spMkLst>
            <pc:docMk/>
            <pc:sldMk cId="2020206238" sldId="2145706668"/>
            <ac:spMk id="97" creationId="{2A81A195-2676-44C4-896D-689E59A38CEC}"/>
          </ac:spMkLst>
        </pc:spChg>
        <pc:spChg chg="mod">
          <ac:chgData name="Daniel Barnes" userId="b303a15ee67145ed" providerId="LiveId" clId="{4A5A1811-DFF2-43F5-A7A7-22A66EF04CEB}" dt="2022-03-13T21:58:04.732" v="3475" actId="404"/>
          <ac:spMkLst>
            <pc:docMk/>
            <pc:sldMk cId="2020206238" sldId="2145706668"/>
            <ac:spMk id="98" creationId="{E7156280-6B7B-4263-AB17-22F35BB5C7C3}"/>
          </ac:spMkLst>
        </pc:spChg>
        <pc:spChg chg="mod">
          <ac:chgData name="Daniel Barnes" userId="b303a15ee67145ed" providerId="LiveId" clId="{4A5A1811-DFF2-43F5-A7A7-22A66EF04CEB}" dt="2022-03-13T21:58:04.732" v="3475" actId="404"/>
          <ac:spMkLst>
            <pc:docMk/>
            <pc:sldMk cId="2020206238" sldId="2145706668"/>
            <ac:spMk id="99" creationId="{1CC2D145-0795-41DD-8639-5A50A568CAFD}"/>
          </ac:spMkLst>
        </pc:spChg>
        <pc:spChg chg="mod">
          <ac:chgData name="Daniel Barnes" userId="b303a15ee67145ed" providerId="LiveId" clId="{4A5A1811-DFF2-43F5-A7A7-22A66EF04CEB}" dt="2022-03-13T21:58:37.659" v="3487" actId="14100"/>
          <ac:spMkLst>
            <pc:docMk/>
            <pc:sldMk cId="2020206238" sldId="2145706668"/>
            <ac:spMk id="105" creationId="{AF5F8729-7120-4FC0-A214-0E201FF45A95}"/>
          </ac:spMkLst>
        </pc:spChg>
        <pc:spChg chg="mod">
          <ac:chgData name="Daniel Barnes" userId="b303a15ee67145ed" providerId="LiveId" clId="{4A5A1811-DFF2-43F5-A7A7-22A66EF04CEB}" dt="2022-03-13T21:58:04.732" v="3475" actId="404"/>
          <ac:spMkLst>
            <pc:docMk/>
            <pc:sldMk cId="2020206238" sldId="2145706668"/>
            <ac:spMk id="106" creationId="{64B7EFC1-B1A7-4EAA-A519-F90F8E046CAD}"/>
          </ac:spMkLst>
        </pc:spChg>
        <pc:grpChg chg="add mod">
          <ac:chgData name="Daniel Barnes" userId="b303a15ee67145ed" providerId="LiveId" clId="{4A5A1811-DFF2-43F5-A7A7-22A66EF04CEB}" dt="2022-03-13T22:05:30.445" v="3587" actId="164"/>
          <ac:grpSpMkLst>
            <pc:docMk/>
            <pc:sldMk cId="2020206238" sldId="2145706668"/>
            <ac:grpSpMk id="7" creationId="{F21FFF33-65B6-4126-B55E-508CDD5D8B69}"/>
          </ac:grpSpMkLst>
        </pc:grpChg>
        <pc:grpChg chg="add mod">
          <ac:chgData name="Daniel Barnes" userId="b303a15ee67145ed" providerId="LiveId" clId="{4A5A1811-DFF2-43F5-A7A7-22A66EF04CEB}" dt="2022-03-13T22:05:30.445" v="3587" actId="164"/>
          <ac:grpSpMkLst>
            <pc:docMk/>
            <pc:sldMk cId="2020206238" sldId="2145706668"/>
            <ac:grpSpMk id="9" creationId="{CC31E096-CF07-4BAD-9BB4-326F2C912DFC}"/>
          </ac:grpSpMkLst>
        </pc:grpChg>
        <pc:grpChg chg="mod">
          <ac:chgData name="Daniel Barnes" userId="b303a15ee67145ed" providerId="LiveId" clId="{4A5A1811-DFF2-43F5-A7A7-22A66EF04CEB}" dt="2022-03-13T21:41:59.091" v="3277"/>
          <ac:grpSpMkLst>
            <pc:docMk/>
            <pc:sldMk cId="2020206238" sldId="2145706668"/>
            <ac:grpSpMk id="28" creationId="{F7D9EF03-0D98-4A64-B0CA-E0D795AFB3A9}"/>
          </ac:grpSpMkLst>
        </pc:grpChg>
        <pc:grpChg chg="mod">
          <ac:chgData name="Daniel Barnes" userId="b303a15ee67145ed" providerId="LiveId" clId="{4A5A1811-DFF2-43F5-A7A7-22A66EF04CEB}" dt="2022-03-13T21:41:59.091" v="3277"/>
          <ac:grpSpMkLst>
            <pc:docMk/>
            <pc:sldMk cId="2020206238" sldId="2145706668"/>
            <ac:grpSpMk id="35" creationId="{92EA4B77-B14B-4AED-97DA-838569B509F9}"/>
          </ac:grpSpMkLst>
        </pc:grpChg>
        <pc:grpChg chg="add del mod">
          <ac:chgData name="Daniel Barnes" userId="b303a15ee67145ed" providerId="LiveId" clId="{4A5A1811-DFF2-43F5-A7A7-22A66EF04CEB}" dt="2022-03-13T21:47:49.507" v="3362" actId="478"/>
          <ac:grpSpMkLst>
            <pc:docMk/>
            <pc:sldMk cId="2020206238" sldId="2145706668"/>
            <ac:grpSpMk id="48" creationId="{ED0BE77C-5D8E-4362-8FD3-61A95B9C7D16}"/>
          </ac:grpSpMkLst>
        </pc:grpChg>
        <pc:grpChg chg="add del mod">
          <ac:chgData name="Daniel Barnes" userId="b303a15ee67145ed" providerId="LiveId" clId="{4A5A1811-DFF2-43F5-A7A7-22A66EF04CEB}" dt="2022-03-13T21:47:49.507" v="3362" actId="478"/>
          <ac:grpSpMkLst>
            <pc:docMk/>
            <pc:sldMk cId="2020206238" sldId="2145706668"/>
            <ac:grpSpMk id="51" creationId="{E502F57B-1B21-4FCD-98D7-652DE5E0375A}"/>
          </ac:grpSpMkLst>
        </pc:grpChg>
        <pc:grpChg chg="add del mod">
          <ac:chgData name="Daniel Barnes" userId="b303a15ee67145ed" providerId="LiveId" clId="{4A5A1811-DFF2-43F5-A7A7-22A66EF04CEB}" dt="2022-03-13T21:47:49.507" v="3362" actId="478"/>
          <ac:grpSpMkLst>
            <pc:docMk/>
            <pc:sldMk cId="2020206238" sldId="2145706668"/>
            <ac:grpSpMk id="54" creationId="{F253C404-DD0F-4D0C-B461-98503A76B542}"/>
          </ac:grpSpMkLst>
        </pc:grpChg>
        <pc:grpChg chg="add del mod">
          <ac:chgData name="Daniel Barnes" userId="b303a15ee67145ed" providerId="LiveId" clId="{4A5A1811-DFF2-43F5-A7A7-22A66EF04CEB}" dt="2022-03-13T21:47:49.507" v="3362" actId="478"/>
          <ac:grpSpMkLst>
            <pc:docMk/>
            <pc:sldMk cId="2020206238" sldId="2145706668"/>
            <ac:grpSpMk id="57" creationId="{D0AA02AB-280E-4DEE-A0E9-FDC4CB37E5BC}"/>
          </ac:grpSpMkLst>
        </pc:grpChg>
        <pc:grpChg chg="add mod">
          <ac:chgData name="Daniel Barnes" userId="b303a15ee67145ed" providerId="LiveId" clId="{4A5A1811-DFF2-43F5-A7A7-22A66EF04CEB}" dt="2022-03-13T22:05:30.445" v="3587" actId="164"/>
          <ac:grpSpMkLst>
            <pc:docMk/>
            <pc:sldMk cId="2020206238" sldId="2145706668"/>
            <ac:grpSpMk id="71" creationId="{A12783AC-107E-405B-AE46-76495AA5CA2F}"/>
          </ac:grpSpMkLst>
        </pc:grpChg>
        <pc:grpChg chg="add mod">
          <ac:chgData name="Daniel Barnes" userId="b303a15ee67145ed" providerId="LiveId" clId="{4A5A1811-DFF2-43F5-A7A7-22A66EF04CEB}" dt="2022-03-13T22:05:30.445" v="3587" actId="164"/>
          <ac:grpSpMkLst>
            <pc:docMk/>
            <pc:sldMk cId="2020206238" sldId="2145706668"/>
            <ac:grpSpMk id="74" creationId="{4602B558-EDB7-4511-8362-1C6AE3BC95E6}"/>
          </ac:grpSpMkLst>
        </pc:grpChg>
        <pc:grpChg chg="add mod">
          <ac:chgData name="Daniel Barnes" userId="b303a15ee67145ed" providerId="LiveId" clId="{4A5A1811-DFF2-43F5-A7A7-22A66EF04CEB}" dt="2022-03-13T22:05:30.445" v="3587" actId="164"/>
          <ac:grpSpMkLst>
            <pc:docMk/>
            <pc:sldMk cId="2020206238" sldId="2145706668"/>
            <ac:grpSpMk id="77" creationId="{81FA3418-D807-4483-9363-C1DAFE87537B}"/>
          </ac:grpSpMkLst>
        </pc:grpChg>
        <pc:grpChg chg="del">
          <ac:chgData name="Daniel Barnes" userId="b303a15ee67145ed" providerId="LiveId" clId="{4A5A1811-DFF2-43F5-A7A7-22A66EF04CEB}" dt="2022-03-13T21:39:02.496" v="3245" actId="478"/>
          <ac:grpSpMkLst>
            <pc:docMk/>
            <pc:sldMk cId="2020206238" sldId="2145706668"/>
            <ac:grpSpMk id="100" creationId="{4DF58E1A-2B9E-47C6-9193-89E805613548}"/>
          </ac:grpSpMkLst>
        </pc:grpChg>
        <pc:grpChg chg="del">
          <ac:chgData name="Daniel Barnes" userId="b303a15ee67145ed" providerId="LiveId" clId="{4A5A1811-DFF2-43F5-A7A7-22A66EF04CEB}" dt="2022-03-13T21:39:02.496" v="3245" actId="478"/>
          <ac:grpSpMkLst>
            <pc:docMk/>
            <pc:sldMk cId="2020206238" sldId="2145706668"/>
            <ac:grpSpMk id="101" creationId="{BC970FD7-EEAD-46C7-B0ED-7A867795E385}"/>
          </ac:grpSpMkLst>
        </pc:grpChg>
        <pc:grpChg chg="del">
          <ac:chgData name="Daniel Barnes" userId="b303a15ee67145ed" providerId="LiveId" clId="{4A5A1811-DFF2-43F5-A7A7-22A66EF04CEB}" dt="2022-03-13T21:39:02.496" v="3245" actId="478"/>
          <ac:grpSpMkLst>
            <pc:docMk/>
            <pc:sldMk cId="2020206238" sldId="2145706668"/>
            <ac:grpSpMk id="102" creationId="{E8B6C71B-03D7-4A25-A3B5-9CF5A22D2497}"/>
          </ac:grpSpMkLst>
        </pc:grpChg>
        <pc:grpChg chg="del">
          <ac:chgData name="Daniel Barnes" userId="b303a15ee67145ed" providerId="LiveId" clId="{4A5A1811-DFF2-43F5-A7A7-22A66EF04CEB}" dt="2022-03-13T21:39:02.496" v="3245" actId="478"/>
          <ac:grpSpMkLst>
            <pc:docMk/>
            <pc:sldMk cId="2020206238" sldId="2145706668"/>
            <ac:grpSpMk id="103" creationId="{C96CAE8F-8848-4FC4-9FEA-72930EE233F1}"/>
          </ac:grpSpMkLst>
        </pc:grpChg>
        <pc:graphicFrameChg chg="add del mod modGraphic">
          <ac:chgData name="Daniel Barnes" userId="b303a15ee67145ed" providerId="LiveId" clId="{4A5A1811-DFF2-43F5-A7A7-22A66EF04CEB}" dt="2022-03-13T21:41:20.792" v="3273" actId="478"/>
          <ac:graphicFrameMkLst>
            <pc:docMk/>
            <pc:sldMk cId="2020206238" sldId="2145706668"/>
            <ac:graphicFrameMk id="5" creationId="{256F1BD1-3EC6-4E6E-8C5F-8E0CB0A5C9B7}"/>
          </ac:graphicFrameMkLst>
        </pc:graphicFrameChg>
        <pc:picChg chg="mod">
          <ac:chgData name="Daniel Barnes" userId="b303a15ee67145ed" providerId="LiveId" clId="{4A5A1811-DFF2-43F5-A7A7-22A66EF04CEB}" dt="2022-03-13T21:41:59.091" v="3277"/>
          <ac:picMkLst>
            <pc:docMk/>
            <pc:sldMk cId="2020206238" sldId="2145706668"/>
            <ac:picMk id="6" creationId="{0D94EE98-C8BA-4088-9399-E3A6F93524AD}"/>
          </ac:picMkLst>
        </pc:picChg>
        <pc:picChg chg="mod">
          <ac:chgData name="Daniel Barnes" userId="b303a15ee67145ed" providerId="LiveId" clId="{4A5A1811-DFF2-43F5-A7A7-22A66EF04CEB}" dt="2022-03-13T21:41:59.091" v="3277"/>
          <ac:picMkLst>
            <pc:docMk/>
            <pc:sldMk cId="2020206238" sldId="2145706668"/>
            <ac:picMk id="8" creationId="{49F80C29-BD4E-4670-AFF0-F59E30604817}"/>
          </ac:picMkLst>
        </pc:picChg>
        <pc:picChg chg="mod">
          <ac:chgData name="Daniel Barnes" userId="b303a15ee67145ed" providerId="LiveId" clId="{4A5A1811-DFF2-43F5-A7A7-22A66EF04CEB}" dt="2022-04-03T12:59:31.418" v="22324" actId="108"/>
          <ac:picMkLst>
            <pc:docMk/>
            <pc:sldMk cId="2020206238" sldId="2145706668"/>
            <ac:picMk id="10" creationId="{277E6190-5DA5-4D5A-96BA-1CD9654DE556}"/>
          </ac:picMkLst>
        </pc:picChg>
        <pc:picChg chg="mod">
          <ac:chgData name="Daniel Barnes" userId="b303a15ee67145ed" providerId="LiveId" clId="{4A5A1811-DFF2-43F5-A7A7-22A66EF04CEB}" dt="2022-04-03T12:59:31.418" v="22324" actId="108"/>
          <ac:picMkLst>
            <pc:docMk/>
            <pc:sldMk cId="2020206238" sldId="2145706668"/>
            <ac:picMk id="14" creationId="{8F30D176-1F26-4574-A3AE-DF6724CE75E0}"/>
          </ac:picMkLst>
        </pc:picChg>
        <pc:picChg chg="mod">
          <ac:chgData name="Daniel Barnes" userId="b303a15ee67145ed" providerId="LiveId" clId="{4A5A1811-DFF2-43F5-A7A7-22A66EF04CEB}" dt="2022-04-03T12:59:31.418" v="22324" actId="108"/>
          <ac:picMkLst>
            <pc:docMk/>
            <pc:sldMk cId="2020206238" sldId="2145706668"/>
            <ac:picMk id="16" creationId="{C4F55A5F-87B2-4210-A9EC-0FE7EF6DDB81}"/>
          </ac:picMkLst>
        </pc:picChg>
        <pc:picChg chg="mod">
          <ac:chgData name="Daniel Barnes" userId="b303a15ee67145ed" providerId="LiveId" clId="{4A5A1811-DFF2-43F5-A7A7-22A66EF04CEB}" dt="2022-04-03T12:59:31.418" v="22324" actId="108"/>
          <ac:picMkLst>
            <pc:docMk/>
            <pc:sldMk cId="2020206238" sldId="2145706668"/>
            <ac:picMk id="19" creationId="{DA39E6D6-5F71-4F33-B2F9-97EF92422C89}"/>
          </ac:picMkLst>
        </pc:picChg>
        <pc:picChg chg="mod">
          <ac:chgData name="Daniel Barnes" userId="b303a15ee67145ed" providerId="LiveId" clId="{4A5A1811-DFF2-43F5-A7A7-22A66EF04CEB}" dt="2022-03-13T21:41:59.091" v="3277"/>
          <ac:picMkLst>
            <pc:docMk/>
            <pc:sldMk cId="2020206238" sldId="2145706668"/>
            <ac:picMk id="86" creationId="{D5E40F14-C243-45DC-A9AD-C3E089B083A3}"/>
          </ac:picMkLst>
        </pc:picChg>
      </pc:sldChg>
      <pc:sldChg chg="addSp delSp modSp add mod">
        <pc:chgData name="Daniel Barnes" userId="b303a15ee67145ed" providerId="LiveId" clId="{4A5A1811-DFF2-43F5-A7A7-22A66EF04CEB}" dt="2022-04-03T12:59:17.722" v="22322" actId="208"/>
        <pc:sldMkLst>
          <pc:docMk/>
          <pc:sldMk cId="3268956078" sldId="2145706669"/>
        </pc:sldMkLst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3" creationId="{CE21D9D7-FB8E-43B0-A613-DA6583074AB7}"/>
          </ac:spMkLst>
        </pc:spChg>
        <pc:spChg chg="add mod ord">
          <ac:chgData name="Daniel Barnes" userId="b303a15ee67145ed" providerId="LiveId" clId="{4A5A1811-DFF2-43F5-A7A7-22A66EF04CEB}" dt="2022-04-03T12:56:24.562" v="22295" actId="167"/>
          <ac:spMkLst>
            <pc:docMk/>
            <pc:sldMk cId="3268956078" sldId="2145706669"/>
            <ac:spMk id="6" creationId="{B37705CB-E1C2-4BF4-9E9D-C843ED679950}"/>
          </ac:spMkLst>
        </pc:spChg>
        <pc:spChg chg="del">
          <ac:chgData name="Daniel Barnes" userId="b303a15ee67145ed" providerId="LiveId" clId="{4A5A1811-DFF2-43F5-A7A7-22A66EF04CEB}" dt="2022-03-13T21:53:23.951" v="3396" actId="478"/>
          <ac:spMkLst>
            <pc:docMk/>
            <pc:sldMk cId="3268956078" sldId="2145706669"/>
            <ac:spMk id="30" creationId="{E57CC287-A5A6-4FD2-9FF6-E7530407F198}"/>
          </ac:spMkLst>
        </pc:spChg>
        <pc:spChg chg="del">
          <ac:chgData name="Daniel Barnes" userId="b303a15ee67145ed" providerId="LiveId" clId="{4A5A1811-DFF2-43F5-A7A7-22A66EF04CEB}" dt="2022-03-13T21:53:23.951" v="3396" actId="478"/>
          <ac:spMkLst>
            <pc:docMk/>
            <pc:sldMk cId="3268956078" sldId="2145706669"/>
            <ac:spMk id="31" creationId="{6B02841C-5C37-4F69-8B29-1DC00EABCB3E}"/>
          </ac:spMkLst>
        </pc:spChg>
        <pc:spChg chg="del">
          <ac:chgData name="Daniel Barnes" userId="b303a15ee67145ed" providerId="LiveId" clId="{4A5A1811-DFF2-43F5-A7A7-22A66EF04CEB}" dt="2022-03-13T21:53:23.951" v="3396" actId="478"/>
          <ac:spMkLst>
            <pc:docMk/>
            <pc:sldMk cId="3268956078" sldId="2145706669"/>
            <ac:spMk id="32" creationId="{D57ED92F-5901-44AD-964B-8E903FE5625E}"/>
          </ac:spMkLst>
        </pc:spChg>
        <pc:spChg chg="del">
          <ac:chgData name="Daniel Barnes" userId="b303a15ee67145ed" providerId="LiveId" clId="{4A5A1811-DFF2-43F5-A7A7-22A66EF04CEB}" dt="2022-03-13T21:53:23.951" v="3396" actId="478"/>
          <ac:spMkLst>
            <pc:docMk/>
            <pc:sldMk cId="3268956078" sldId="2145706669"/>
            <ac:spMk id="33" creationId="{00B3CE52-E56F-4D28-A54C-13ED900C2931}"/>
          </ac:spMkLst>
        </pc:spChg>
        <pc:spChg chg="del">
          <ac:chgData name="Daniel Barnes" userId="b303a15ee67145ed" providerId="LiveId" clId="{4A5A1811-DFF2-43F5-A7A7-22A66EF04CEB}" dt="2022-03-13T21:53:23.951" v="3396" actId="478"/>
          <ac:spMkLst>
            <pc:docMk/>
            <pc:sldMk cId="3268956078" sldId="2145706669"/>
            <ac:spMk id="34" creationId="{D85BA101-2491-4CC9-AC3E-1CAAD53F10DF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35" creationId="{B33BACFA-1159-4C77-A027-105328CB3C84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36" creationId="{E0EAC358-4AA2-486D-B3B5-DA29D5D0A9D1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37" creationId="{3D8A8A4F-DC01-4BF6-BD06-B59DEFCAF8E6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38" creationId="{469A0A08-857E-439C-8CAF-7AA781886912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40" creationId="{E9623D5D-7C80-440A-BF87-6BE0026034B8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41" creationId="{20714ADB-E61F-4FAA-B361-F9D6E2A926DA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42" creationId="{A80B3D11-1BAE-451F-B428-F4F5013132C6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43" creationId="{B94C6666-B74E-4347-8C9E-DF57C13FA894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44" creationId="{F7D55E56-D5F5-4E0F-B6E3-14A84EA3F6FB}"/>
          </ac:spMkLst>
        </pc:spChg>
        <pc:spChg chg="del mod">
          <ac:chgData name="Daniel Barnes" userId="b303a15ee67145ed" providerId="LiveId" clId="{4A5A1811-DFF2-43F5-A7A7-22A66EF04CEB}" dt="2022-03-13T22:23:31.085" v="3976" actId="478"/>
          <ac:spMkLst>
            <pc:docMk/>
            <pc:sldMk cId="3268956078" sldId="2145706669"/>
            <ac:spMk id="45" creationId="{8EC6F565-658E-44CA-878B-FAF35AE9E6AA}"/>
          </ac:spMkLst>
        </pc:spChg>
        <pc:spChg chg="del mod topLvl">
          <ac:chgData name="Daniel Barnes" userId="b303a15ee67145ed" providerId="LiveId" clId="{4A5A1811-DFF2-43F5-A7A7-22A66EF04CEB}" dt="2022-04-03T12:51:54.135" v="22219" actId="478"/>
          <ac:spMkLst>
            <pc:docMk/>
            <pc:sldMk cId="3268956078" sldId="2145706669"/>
            <ac:spMk id="59" creationId="{164D0F47-5D91-4279-B8E9-C025BCBEE18C}"/>
          </ac:spMkLst>
        </pc:spChg>
        <pc:spChg chg="add mod">
          <ac:chgData name="Daniel Barnes" userId="b303a15ee67145ed" providerId="LiveId" clId="{4A5A1811-DFF2-43F5-A7A7-22A66EF04CEB}" dt="2022-04-03T12:57:56.670" v="22314" actId="14100"/>
          <ac:spMkLst>
            <pc:docMk/>
            <pc:sldMk cId="3268956078" sldId="2145706669"/>
            <ac:spMk id="62" creationId="{39CF67DA-B6BD-442A-9E3B-E9F82178A808}"/>
          </ac:spMkLst>
        </pc:spChg>
        <pc:spChg chg="add mod">
          <ac:chgData name="Daniel Barnes" userId="b303a15ee67145ed" providerId="LiveId" clId="{4A5A1811-DFF2-43F5-A7A7-22A66EF04CEB}" dt="2022-04-03T12:54:04.283" v="22249" actId="165"/>
          <ac:spMkLst>
            <pc:docMk/>
            <pc:sldMk cId="3268956078" sldId="2145706669"/>
            <ac:spMk id="63" creationId="{BBB7E310-5744-44CD-9D4B-B79E10657BBC}"/>
          </ac:spMkLst>
        </pc:spChg>
        <pc:spChg chg="del mod topLvl">
          <ac:chgData name="Daniel Barnes" userId="b303a15ee67145ed" providerId="LiveId" clId="{4A5A1811-DFF2-43F5-A7A7-22A66EF04CEB}" dt="2022-03-13T21:57:07.015" v="3461" actId="478"/>
          <ac:spMkLst>
            <pc:docMk/>
            <pc:sldMk cId="3268956078" sldId="2145706669"/>
            <ac:spMk id="66" creationId="{BDB2D857-8B5B-45FF-803C-6B00D3825C12}"/>
          </ac:spMkLst>
        </pc:spChg>
        <pc:spChg chg="mod ord topLvl">
          <ac:chgData name="Daniel Barnes" userId="b303a15ee67145ed" providerId="LiveId" clId="{4A5A1811-DFF2-43F5-A7A7-22A66EF04CEB}" dt="2022-04-03T12:54:09.722" v="22250" actId="165"/>
          <ac:spMkLst>
            <pc:docMk/>
            <pc:sldMk cId="3268956078" sldId="2145706669"/>
            <ac:spMk id="67" creationId="{B2C9F3D2-C317-4CBA-81AC-EA9F4FFFE359}"/>
          </ac:spMkLst>
        </pc:spChg>
        <pc:spChg chg="add del mod topLvl">
          <ac:chgData name="Daniel Barnes" userId="b303a15ee67145ed" providerId="LiveId" clId="{4A5A1811-DFF2-43F5-A7A7-22A66EF04CEB}" dt="2022-04-03T12:51:51.414" v="22218" actId="478"/>
          <ac:spMkLst>
            <pc:docMk/>
            <pc:sldMk cId="3268956078" sldId="2145706669"/>
            <ac:spMk id="68" creationId="{9451C05C-A9BE-49F1-87A6-3BC9A9F6AFBD}"/>
          </ac:spMkLst>
        </pc:spChg>
        <pc:spChg chg="add del mod topLvl">
          <ac:chgData name="Daniel Barnes" userId="b303a15ee67145ed" providerId="LiveId" clId="{4A5A1811-DFF2-43F5-A7A7-22A66EF04CEB}" dt="2022-04-03T12:51:49.624" v="22217" actId="478"/>
          <ac:spMkLst>
            <pc:docMk/>
            <pc:sldMk cId="3268956078" sldId="2145706669"/>
            <ac:spMk id="71" creationId="{925DAB0E-7E9A-4076-A2C9-3490042C3D90}"/>
          </ac:spMkLst>
        </pc:spChg>
        <pc:spChg chg="add mod ord topLvl">
          <ac:chgData name="Daniel Barnes" userId="b303a15ee67145ed" providerId="LiveId" clId="{4A5A1811-DFF2-43F5-A7A7-22A66EF04CEB}" dt="2022-04-03T12:53:11.687" v="22227" actId="165"/>
          <ac:spMkLst>
            <pc:docMk/>
            <pc:sldMk cId="3268956078" sldId="2145706669"/>
            <ac:spMk id="72" creationId="{FD8C8F7F-9D39-4618-9E2F-5BE725E8339B}"/>
          </ac:spMkLst>
        </pc:spChg>
        <pc:spChg chg="add mod">
          <ac:chgData name="Daniel Barnes" userId="b303a15ee67145ed" providerId="LiveId" clId="{4A5A1811-DFF2-43F5-A7A7-22A66EF04CEB}" dt="2022-03-13T22:00:56.668" v="3525"/>
          <ac:spMkLst>
            <pc:docMk/>
            <pc:sldMk cId="3268956078" sldId="2145706669"/>
            <ac:spMk id="76" creationId="{C405DA3D-94CA-4F36-8409-88C31694D468}"/>
          </ac:spMkLst>
        </pc:spChg>
        <pc:spChg chg="add del mod">
          <ac:chgData name="Daniel Barnes" userId="b303a15ee67145ed" providerId="LiveId" clId="{4A5A1811-DFF2-43F5-A7A7-22A66EF04CEB}" dt="2022-04-03T12:50:56.303" v="22213" actId="478"/>
          <ac:spMkLst>
            <pc:docMk/>
            <pc:sldMk cId="3268956078" sldId="2145706669"/>
            <ac:spMk id="77" creationId="{7A786174-D664-44F6-8781-4CB3AC9FE54D}"/>
          </ac:spMkLst>
        </pc:spChg>
        <pc:spChg chg="add mod">
          <ac:chgData name="Daniel Barnes" userId="b303a15ee67145ed" providerId="LiveId" clId="{4A5A1811-DFF2-43F5-A7A7-22A66EF04CEB}" dt="2022-04-03T12:52:26.611" v="22224" actId="1076"/>
          <ac:spMkLst>
            <pc:docMk/>
            <pc:sldMk cId="3268956078" sldId="2145706669"/>
            <ac:spMk id="80" creationId="{C50761B1-1B75-4004-9D23-2B51C0ECF96A}"/>
          </ac:spMkLst>
        </pc:spChg>
        <pc:spChg chg="add mod">
          <ac:chgData name="Daniel Barnes" userId="b303a15ee67145ed" providerId="LiveId" clId="{4A5A1811-DFF2-43F5-A7A7-22A66EF04CEB}" dt="2022-04-03T12:59:17.722" v="22322" actId="208"/>
          <ac:spMkLst>
            <pc:docMk/>
            <pc:sldMk cId="3268956078" sldId="2145706669"/>
            <ac:spMk id="81" creationId="{D6C10BC8-0BF1-413F-B10D-1C5366151463}"/>
          </ac:spMkLst>
        </pc:spChg>
        <pc:spChg chg="add mod">
          <ac:chgData name="Daniel Barnes" userId="b303a15ee67145ed" providerId="LiveId" clId="{4A5A1811-DFF2-43F5-A7A7-22A66EF04CEB}" dt="2022-03-13T22:04:09.530" v="3578" actId="164"/>
          <ac:spMkLst>
            <pc:docMk/>
            <pc:sldMk cId="3268956078" sldId="2145706669"/>
            <ac:spMk id="82" creationId="{AF5A6ED4-370A-42C9-A9A3-6C185B573F1F}"/>
          </ac:spMkLst>
        </pc:spChg>
        <pc:spChg chg="mod">
          <ac:chgData name="Daniel Barnes" userId="b303a15ee67145ed" providerId="LiveId" clId="{4A5A1811-DFF2-43F5-A7A7-22A66EF04CEB}" dt="2022-03-13T22:06:55.567" v="3609" actId="14100"/>
          <ac:spMkLst>
            <pc:docMk/>
            <pc:sldMk cId="3268956078" sldId="2145706669"/>
            <ac:spMk id="92" creationId="{4BC70F49-C9CD-4930-90C2-C2E9F0A1C606}"/>
          </ac:spMkLst>
        </pc:spChg>
        <pc:spChg chg="mod">
          <ac:chgData name="Daniel Barnes" userId="b303a15ee67145ed" providerId="LiveId" clId="{4A5A1811-DFF2-43F5-A7A7-22A66EF04CEB}" dt="2022-03-13T22:06:30.742" v="3602" actId="20577"/>
          <ac:spMkLst>
            <pc:docMk/>
            <pc:sldMk cId="3268956078" sldId="2145706669"/>
            <ac:spMk id="93" creationId="{2B53FA17-FB4A-40DC-9347-88CE67C7A46B}"/>
          </ac:spMkLst>
        </pc:spChg>
        <pc:spChg chg="mod">
          <ac:chgData name="Daniel Barnes" userId="b303a15ee67145ed" providerId="LiveId" clId="{4A5A1811-DFF2-43F5-A7A7-22A66EF04CEB}" dt="2022-03-13T22:07:42.217" v="3630" actId="207"/>
          <ac:spMkLst>
            <pc:docMk/>
            <pc:sldMk cId="3268956078" sldId="2145706669"/>
            <ac:spMk id="94" creationId="{3385DFA2-E084-4E8A-A64B-2ECACEE0EA10}"/>
          </ac:spMkLst>
        </pc:spChg>
        <pc:spChg chg="mod">
          <ac:chgData name="Daniel Barnes" userId="b303a15ee67145ed" providerId="LiveId" clId="{4A5A1811-DFF2-43F5-A7A7-22A66EF04CEB}" dt="2022-03-13T22:06:27.983" v="3600" actId="20577"/>
          <ac:spMkLst>
            <pc:docMk/>
            <pc:sldMk cId="3268956078" sldId="2145706669"/>
            <ac:spMk id="95" creationId="{EFEE615F-EF95-4FB7-906D-F01590F3B3C5}"/>
          </ac:spMkLst>
        </pc:spChg>
        <pc:spChg chg="mod">
          <ac:chgData name="Daniel Barnes" userId="b303a15ee67145ed" providerId="LiveId" clId="{4A5A1811-DFF2-43F5-A7A7-22A66EF04CEB}" dt="2022-03-13T22:06:14.611" v="3594" actId="165"/>
          <ac:spMkLst>
            <pc:docMk/>
            <pc:sldMk cId="3268956078" sldId="2145706669"/>
            <ac:spMk id="96" creationId="{6CEF0B9A-0F09-4660-86B1-07EF3DC71DEF}"/>
          </ac:spMkLst>
        </pc:spChg>
        <pc:spChg chg="mod">
          <ac:chgData name="Daniel Barnes" userId="b303a15ee67145ed" providerId="LiveId" clId="{4A5A1811-DFF2-43F5-A7A7-22A66EF04CEB}" dt="2022-03-13T22:06:14.611" v="3594" actId="165"/>
          <ac:spMkLst>
            <pc:docMk/>
            <pc:sldMk cId="3268956078" sldId="2145706669"/>
            <ac:spMk id="97" creationId="{87A6FD15-083C-4BB2-978A-DC3F7C055144}"/>
          </ac:spMkLst>
        </pc:spChg>
        <pc:spChg chg="mod">
          <ac:chgData name="Daniel Barnes" userId="b303a15ee67145ed" providerId="LiveId" clId="{4A5A1811-DFF2-43F5-A7A7-22A66EF04CEB}" dt="2022-03-13T22:06:14.611" v="3594" actId="165"/>
          <ac:spMkLst>
            <pc:docMk/>
            <pc:sldMk cId="3268956078" sldId="2145706669"/>
            <ac:spMk id="98" creationId="{D9C8CD23-1B6A-44BA-8736-7C171EE6EF30}"/>
          </ac:spMkLst>
        </pc:spChg>
        <pc:spChg chg="mod">
          <ac:chgData name="Daniel Barnes" userId="b303a15ee67145ed" providerId="LiveId" clId="{4A5A1811-DFF2-43F5-A7A7-22A66EF04CEB}" dt="2022-03-13T22:06:14.611" v="3594" actId="165"/>
          <ac:spMkLst>
            <pc:docMk/>
            <pc:sldMk cId="3268956078" sldId="2145706669"/>
            <ac:spMk id="99" creationId="{2E6729FD-4367-4F64-9850-04C6BA339563}"/>
          </ac:spMkLst>
        </pc:spChg>
        <pc:spChg chg="mod">
          <ac:chgData name="Daniel Barnes" userId="b303a15ee67145ed" providerId="LiveId" clId="{4A5A1811-DFF2-43F5-A7A7-22A66EF04CEB}" dt="2022-03-13T22:07:20.484" v="3627" actId="14100"/>
          <ac:spMkLst>
            <pc:docMk/>
            <pc:sldMk cId="3268956078" sldId="2145706669"/>
            <ac:spMk id="101" creationId="{8090EF49-CE73-4961-B2C7-1E72A88061A7}"/>
          </ac:spMkLst>
        </pc:spChg>
        <pc:spChg chg="mod">
          <ac:chgData name="Daniel Barnes" userId="b303a15ee67145ed" providerId="LiveId" clId="{4A5A1811-DFF2-43F5-A7A7-22A66EF04CEB}" dt="2022-03-13T22:06:17.299" v="3595"/>
          <ac:spMkLst>
            <pc:docMk/>
            <pc:sldMk cId="3268956078" sldId="2145706669"/>
            <ac:spMk id="102" creationId="{94C0A95C-6072-4320-80E0-ADEBED7CD1F1}"/>
          </ac:spMkLst>
        </pc:spChg>
        <pc:spChg chg="add del mod">
          <ac:chgData name="Daniel Barnes" userId="b303a15ee67145ed" providerId="LiveId" clId="{4A5A1811-DFF2-43F5-A7A7-22A66EF04CEB}" dt="2022-03-13T22:23:10.161" v="3970"/>
          <ac:spMkLst>
            <pc:docMk/>
            <pc:sldMk cId="3268956078" sldId="2145706669"/>
            <ac:spMk id="103" creationId="{8880EFC5-2276-4487-BEC2-BA7D882BE984}"/>
          </ac:spMkLst>
        </pc:spChg>
        <pc:spChg chg="add mod">
          <ac:chgData name="Daniel Barnes" userId="b303a15ee67145ed" providerId="LiveId" clId="{4A5A1811-DFF2-43F5-A7A7-22A66EF04CEB}" dt="2022-03-13T22:23:14.242" v="3973"/>
          <ac:spMkLst>
            <pc:docMk/>
            <pc:sldMk cId="3268956078" sldId="2145706669"/>
            <ac:spMk id="104" creationId="{1371C763-D6D4-4861-9156-C410030BD15E}"/>
          </ac:spMkLst>
        </pc:spChg>
        <pc:grpChg chg="add del mod">
          <ac:chgData name="Daniel Barnes" userId="b303a15ee67145ed" providerId="LiveId" clId="{4A5A1811-DFF2-43F5-A7A7-22A66EF04CEB}" dt="2022-04-03T12:54:04.283" v="22249" actId="165"/>
          <ac:grpSpMkLst>
            <pc:docMk/>
            <pc:sldMk cId="3268956078" sldId="2145706669"/>
            <ac:grpSpMk id="3" creationId="{B3EB2266-75CB-4EB8-85C8-4ABD4146EFB8}"/>
          </ac:grpSpMkLst>
        </pc:grpChg>
        <pc:grpChg chg="del mod">
          <ac:chgData name="Daniel Barnes" userId="b303a15ee67145ed" providerId="LiveId" clId="{4A5A1811-DFF2-43F5-A7A7-22A66EF04CEB}" dt="2022-03-13T22:07:45.744" v="3631" actId="478"/>
          <ac:grpSpMkLst>
            <pc:docMk/>
            <pc:sldMk cId="3268956078" sldId="2145706669"/>
            <ac:grpSpMk id="4" creationId="{4FA1DCF7-B8B8-47A2-BF8F-4013E5E281E3}"/>
          </ac:grpSpMkLst>
        </pc:grpChg>
        <pc:grpChg chg="del mod">
          <ac:chgData name="Daniel Barnes" userId="b303a15ee67145ed" providerId="LiveId" clId="{4A5A1811-DFF2-43F5-A7A7-22A66EF04CEB}" dt="2022-03-13T22:07:45.744" v="3631" actId="478"/>
          <ac:grpSpMkLst>
            <pc:docMk/>
            <pc:sldMk cId="3268956078" sldId="2145706669"/>
            <ac:grpSpMk id="6" creationId="{BD73872E-2FFB-4D32-BB40-86EF9B8307F8}"/>
          </ac:grpSpMkLst>
        </pc:grpChg>
        <pc:grpChg chg="del mod">
          <ac:chgData name="Daniel Barnes" userId="b303a15ee67145ed" providerId="LiveId" clId="{4A5A1811-DFF2-43F5-A7A7-22A66EF04CEB}" dt="2022-03-13T22:07:45.744" v="3631" actId="478"/>
          <ac:grpSpMkLst>
            <pc:docMk/>
            <pc:sldMk cId="3268956078" sldId="2145706669"/>
            <ac:grpSpMk id="8" creationId="{0CD88153-CAD0-4AF4-99BB-128A898887EA}"/>
          </ac:grpSpMkLst>
        </pc:grpChg>
        <pc:grpChg chg="del mod">
          <ac:chgData name="Daniel Barnes" userId="b303a15ee67145ed" providerId="LiveId" clId="{4A5A1811-DFF2-43F5-A7A7-22A66EF04CEB}" dt="2022-03-13T22:07:45.744" v="3631" actId="478"/>
          <ac:grpSpMkLst>
            <pc:docMk/>
            <pc:sldMk cId="3268956078" sldId="2145706669"/>
            <ac:grpSpMk id="10" creationId="{068C8011-CE50-4093-91FC-5D240A58628A}"/>
          </ac:grpSpMkLst>
        </pc:grpChg>
        <pc:grpChg chg="del mod">
          <ac:chgData name="Daniel Barnes" userId="b303a15ee67145ed" providerId="LiveId" clId="{4A5A1811-DFF2-43F5-A7A7-22A66EF04CEB}" dt="2022-03-13T22:07:45.744" v="3631" actId="478"/>
          <ac:grpSpMkLst>
            <pc:docMk/>
            <pc:sldMk cId="3268956078" sldId="2145706669"/>
            <ac:grpSpMk id="12" creationId="{31AD0998-6DA2-41CB-BFF8-AEC87670DB77}"/>
          </ac:grpSpMkLst>
        </pc:grpChg>
        <pc:grpChg chg="del">
          <ac:chgData name="Daniel Barnes" userId="b303a15ee67145ed" providerId="LiveId" clId="{4A5A1811-DFF2-43F5-A7A7-22A66EF04CEB}" dt="2022-03-13T21:53:25.696" v="3397" actId="478"/>
          <ac:grpSpMkLst>
            <pc:docMk/>
            <pc:sldMk cId="3268956078" sldId="2145706669"/>
            <ac:grpSpMk id="17" creationId="{FBAAEB3C-771F-44C8-B526-A886D9EA1A4C}"/>
          </ac:grpSpMkLst>
        </pc:grpChg>
        <pc:grpChg chg="del">
          <ac:chgData name="Daniel Barnes" userId="b303a15ee67145ed" providerId="LiveId" clId="{4A5A1811-DFF2-43F5-A7A7-22A66EF04CEB}" dt="2022-03-13T21:53:23.951" v="3396" actId="478"/>
          <ac:grpSpMkLst>
            <pc:docMk/>
            <pc:sldMk cId="3268956078" sldId="2145706669"/>
            <ac:grpSpMk id="24" creationId="{D8212EF3-2C11-43C4-A86B-A6C494DC7181}"/>
          </ac:grpSpMkLst>
        </pc:grpChg>
        <pc:grpChg chg="del">
          <ac:chgData name="Daniel Barnes" userId="b303a15ee67145ed" providerId="LiveId" clId="{4A5A1811-DFF2-43F5-A7A7-22A66EF04CEB}" dt="2022-03-13T21:53:23.951" v="3396" actId="478"/>
          <ac:grpSpMkLst>
            <pc:docMk/>
            <pc:sldMk cId="3268956078" sldId="2145706669"/>
            <ac:grpSpMk id="25" creationId="{0E89DCB5-18E3-4F5C-AF33-AA585F3AABE1}"/>
          </ac:grpSpMkLst>
        </pc:grpChg>
        <pc:grpChg chg="del">
          <ac:chgData name="Daniel Barnes" userId="b303a15ee67145ed" providerId="LiveId" clId="{4A5A1811-DFF2-43F5-A7A7-22A66EF04CEB}" dt="2022-03-13T21:53:23.951" v="3396" actId="478"/>
          <ac:grpSpMkLst>
            <pc:docMk/>
            <pc:sldMk cId="3268956078" sldId="2145706669"/>
            <ac:grpSpMk id="26" creationId="{513E8FD0-F3D2-4417-9146-0EC27C90A079}"/>
          </ac:grpSpMkLst>
        </pc:grpChg>
        <pc:grpChg chg="del">
          <ac:chgData name="Daniel Barnes" userId="b303a15ee67145ed" providerId="LiveId" clId="{4A5A1811-DFF2-43F5-A7A7-22A66EF04CEB}" dt="2022-03-13T21:53:23.951" v="3396" actId="478"/>
          <ac:grpSpMkLst>
            <pc:docMk/>
            <pc:sldMk cId="3268956078" sldId="2145706669"/>
            <ac:grpSpMk id="27" creationId="{A387584E-8326-4604-BA37-DA00C1391CD3}"/>
          </ac:grpSpMkLst>
        </pc:grpChg>
        <pc:grpChg chg="add del mod">
          <ac:chgData name="Daniel Barnes" userId="b303a15ee67145ed" providerId="LiveId" clId="{4A5A1811-DFF2-43F5-A7A7-22A66EF04CEB}" dt="2022-04-03T12:56:34.078" v="22300" actId="478"/>
          <ac:grpSpMkLst>
            <pc:docMk/>
            <pc:sldMk cId="3268956078" sldId="2145706669"/>
            <ac:grpSpMk id="51" creationId="{DFED0E52-91F8-41EE-8B24-EE8987164891}"/>
          </ac:grpSpMkLst>
        </pc:grpChg>
        <pc:grpChg chg="add mod topLvl">
          <ac:chgData name="Daniel Barnes" userId="b303a15ee67145ed" providerId="LiveId" clId="{4A5A1811-DFF2-43F5-A7A7-22A66EF04CEB}" dt="2022-04-03T12:54:04.283" v="22249" actId="165"/>
          <ac:grpSpMkLst>
            <pc:docMk/>
            <pc:sldMk cId="3268956078" sldId="2145706669"/>
            <ac:grpSpMk id="55" creationId="{48B459F7-1B9F-459C-BC06-767291EFDCD1}"/>
          </ac:grpSpMkLst>
        </pc:grpChg>
        <pc:grpChg chg="add mod ord topLvl">
          <ac:chgData name="Daniel Barnes" userId="b303a15ee67145ed" providerId="LiveId" clId="{4A5A1811-DFF2-43F5-A7A7-22A66EF04CEB}" dt="2022-04-03T12:56:03.963" v="22288" actId="167"/>
          <ac:grpSpMkLst>
            <pc:docMk/>
            <pc:sldMk cId="3268956078" sldId="2145706669"/>
            <ac:grpSpMk id="56" creationId="{C44FE2AD-8293-4A18-9CD6-4214211CE245}"/>
          </ac:grpSpMkLst>
        </pc:grpChg>
        <pc:grpChg chg="add del mod">
          <ac:chgData name="Daniel Barnes" userId="b303a15ee67145ed" providerId="LiveId" clId="{4A5A1811-DFF2-43F5-A7A7-22A66EF04CEB}" dt="2022-03-13T21:55:25.975" v="3433" actId="478"/>
          <ac:grpSpMkLst>
            <pc:docMk/>
            <pc:sldMk cId="3268956078" sldId="2145706669"/>
            <ac:grpSpMk id="57" creationId="{DF0C10F8-F09B-4B81-AB33-2AE9F7C866E8}"/>
          </ac:grpSpMkLst>
        </pc:grpChg>
        <pc:grpChg chg="add mod">
          <ac:chgData name="Daniel Barnes" userId="b303a15ee67145ed" providerId="LiveId" clId="{4A5A1811-DFF2-43F5-A7A7-22A66EF04CEB}" dt="2022-04-03T12:56:38.934" v="22302"/>
          <ac:grpSpMkLst>
            <pc:docMk/>
            <pc:sldMk cId="3268956078" sldId="2145706669"/>
            <ac:grpSpMk id="58" creationId="{6CD4D9FA-B7FB-4493-B7DC-38D5492034E9}"/>
          </ac:grpSpMkLst>
        </pc:grpChg>
        <pc:grpChg chg="del mod">
          <ac:chgData name="Daniel Barnes" userId="b303a15ee67145ed" providerId="LiveId" clId="{4A5A1811-DFF2-43F5-A7A7-22A66EF04CEB}" dt="2022-03-13T21:55:24.872" v="3432" actId="478"/>
          <ac:grpSpMkLst>
            <pc:docMk/>
            <pc:sldMk cId="3268956078" sldId="2145706669"/>
            <ac:grpSpMk id="58" creationId="{93F2648F-98FA-41EA-BA89-D36C0330AFBD}"/>
          </ac:grpSpMkLst>
        </pc:grpChg>
        <pc:grpChg chg="add del mod topLvl">
          <ac:chgData name="Daniel Barnes" userId="b303a15ee67145ed" providerId="LiveId" clId="{4A5A1811-DFF2-43F5-A7A7-22A66EF04CEB}" dt="2022-04-03T12:51:54.135" v="22219" actId="478"/>
          <ac:grpSpMkLst>
            <pc:docMk/>
            <pc:sldMk cId="3268956078" sldId="2145706669"/>
            <ac:grpSpMk id="64" creationId="{2D9583BA-181B-4615-BD6E-25A9F2946C33}"/>
          </ac:grpSpMkLst>
        </pc:grpChg>
        <pc:grpChg chg="add del mod">
          <ac:chgData name="Daniel Barnes" userId="b303a15ee67145ed" providerId="LiveId" clId="{4A5A1811-DFF2-43F5-A7A7-22A66EF04CEB}" dt="2022-03-13T21:57:07.015" v="3461" actId="478"/>
          <ac:grpSpMkLst>
            <pc:docMk/>
            <pc:sldMk cId="3268956078" sldId="2145706669"/>
            <ac:grpSpMk id="65" creationId="{03063B24-C9E1-4CC1-A3F5-3E275761F721}"/>
          </ac:grpSpMkLst>
        </pc:grpChg>
        <pc:grpChg chg="add del mod">
          <ac:chgData name="Daniel Barnes" userId="b303a15ee67145ed" providerId="LiveId" clId="{4A5A1811-DFF2-43F5-A7A7-22A66EF04CEB}" dt="2022-03-13T22:00:29.317" v="3518" actId="165"/>
          <ac:grpSpMkLst>
            <pc:docMk/>
            <pc:sldMk cId="3268956078" sldId="2145706669"/>
            <ac:grpSpMk id="69" creationId="{120C4BFC-0E40-450C-8D56-4F3C7EC2CEA7}"/>
          </ac:grpSpMkLst>
        </pc:grpChg>
        <pc:grpChg chg="add del mod">
          <ac:chgData name="Daniel Barnes" userId="b303a15ee67145ed" providerId="LiveId" clId="{4A5A1811-DFF2-43F5-A7A7-22A66EF04CEB}" dt="2022-03-13T22:01:35.362" v="3536" actId="165"/>
          <ac:grpSpMkLst>
            <pc:docMk/>
            <pc:sldMk cId="3268956078" sldId="2145706669"/>
            <ac:grpSpMk id="70" creationId="{A043A00F-5177-4BEC-9D1D-0D2C0CD9D5C7}"/>
          </ac:grpSpMkLst>
        </pc:grpChg>
        <pc:grpChg chg="add del mod topLvl">
          <ac:chgData name="Daniel Barnes" userId="b303a15ee67145ed" providerId="LiveId" clId="{4A5A1811-DFF2-43F5-A7A7-22A66EF04CEB}" dt="2022-04-03T12:53:11.687" v="22227" actId="165"/>
          <ac:grpSpMkLst>
            <pc:docMk/>
            <pc:sldMk cId="3268956078" sldId="2145706669"/>
            <ac:grpSpMk id="73" creationId="{72C4BFA5-3B99-4759-8EC0-A2FA3A8C2A93}"/>
          </ac:grpSpMkLst>
        </pc:grpChg>
        <pc:grpChg chg="add del mod">
          <ac:chgData name="Daniel Barnes" userId="b303a15ee67145ed" providerId="LiveId" clId="{4A5A1811-DFF2-43F5-A7A7-22A66EF04CEB}" dt="2022-03-13T22:01:30.350" v="3534" actId="165"/>
          <ac:grpSpMkLst>
            <pc:docMk/>
            <pc:sldMk cId="3268956078" sldId="2145706669"/>
            <ac:grpSpMk id="74" creationId="{E4128A5A-62FB-4BCF-857D-1C2E012CA6DB}"/>
          </ac:grpSpMkLst>
        </pc:grpChg>
        <pc:grpChg chg="add del mod">
          <ac:chgData name="Daniel Barnes" userId="b303a15ee67145ed" providerId="LiveId" clId="{4A5A1811-DFF2-43F5-A7A7-22A66EF04CEB}" dt="2022-03-13T22:01:32.475" v="3535" actId="165"/>
          <ac:grpSpMkLst>
            <pc:docMk/>
            <pc:sldMk cId="3268956078" sldId="2145706669"/>
            <ac:grpSpMk id="75" creationId="{7198DE84-942E-4716-9112-B6911797B063}"/>
          </ac:grpSpMkLst>
        </pc:grpChg>
        <pc:grpChg chg="add del mod">
          <ac:chgData name="Daniel Barnes" userId="b303a15ee67145ed" providerId="LiveId" clId="{4A5A1811-DFF2-43F5-A7A7-22A66EF04CEB}" dt="2022-04-03T12:51:49.624" v="22217" actId="478"/>
          <ac:grpSpMkLst>
            <pc:docMk/>
            <pc:sldMk cId="3268956078" sldId="2145706669"/>
            <ac:grpSpMk id="78" creationId="{7A50C85A-9639-4B37-9035-328AC696E8CE}"/>
          </ac:grpSpMkLst>
        </pc:grpChg>
        <pc:grpChg chg="add del mod">
          <ac:chgData name="Daniel Barnes" userId="b303a15ee67145ed" providerId="LiveId" clId="{4A5A1811-DFF2-43F5-A7A7-22A66EF04CEB}" dt="2022-04-03T12:50:56.303" v="22213" actId="478"/>
          <ac:grpSpMkLst>
            <pc:docMk/>
            <pc:sldMk cId="3268956078" sldId="2145706669"/>
            <ac:grpSpMk id="79" creationId="{8E4E5152-86F0-4A29-9916-B37EAFAE72BC}"/>
          </ac:grpSpMkLst>
        </pc:grpChg>
        <pc:grpChg chg="add mod">
          <ac:chgData name="Daniel Barnes" userId="b303a15ee67145ed" providerId="LiveId" clId="{4A5A1811-DFF2-43F5-A7A7-22A66EF04CEB}" dt="2022-03-13T22:05:03.863" v="3584" actId="12788"/>
          <ac:grpSpMkLst>
            <pc:docMk/>
            <pc:sldMk cId="3268956078" sldId="2145706669"/>
            <ac:grpSpMk id="83" creationId="{9176D75B-05EA-4B19-B6D3-B418F14B0ADD}"/>
          </ac:grpSpMkLst>
        </pc:grpChg>
        <pc:grpChg chg="add del mod topLvl">
          <ac:chgData name="Daniel Barnes" userId="b303a15ee67145ed" providerId="LiveId" clId="{4A5A1811-DFF2-43F5-A7A7-22A66EF04CEB}" dt="2022-04-03T12:54:09.722" v="22250" actId="165"/>
          <ac:grpSpMkLst>
            <pc:docMk/>
            <pc:sldMk cId="3268956078" sldId="2145706669"/>
            <ac:grpSpMk id="84" creationId="{5F22909C-3579-4BB4-92E9-F19139A63024}"/>
          </ac:grpSpMkLst>
        </pc:grpChg>
        <pc:grpChg chg="add mod topLvl">
          <ac:chgData name="Daniel Barnes" userId="b303a15ee67145ed" providerId="LiveId" clId="{4A5A1811-DFF2-43F5-A7A7-22A66EF04CEB}" dt="2022-04-03T12:58:18.397" v="22317" actId="339"/>
          <ac:grpSpMkLst>
            <pc:docMk/>
            <pc:sldMk cId="3268956078" sldId="2145706669"/>
            <ac:grpSpMk id="85" creationId="{63EAAE0C-AD15-43D9-AB32-6192AE475489}"/>
          </ac:grpSpMkLst>
        </pc:grpChg>
        <pc:grpChg chg="add mod">
          <ac:chgData name="Daniel Barnes" userId="b303a15ee67145ed" providerId="LiveId" clId="{4A5A1811-DFF2-43F5-A7A7-22A66EF04CEB}" dt="2022-03-13T22:05:08.647" v="3585" actId="465"/>
          <ac:grpSpMkLst>
            <pc:docMk/>
            <pc:sldMk cId="3268956078" sldId="2145706669"/>
            <ac:grpSpMk id="86" creationId="{0B73F6E9-84C5-4B5E-88F5-979E8C598231}"/>
          </ac:grpSpMkLst>
        </pc:grpChg>
        <pc:grpChg chg="add del mod">
          <ac:chgData name="Daniel Barnes" userId="b303a15ee67145ed" providerId="LiveId" clId="{4A5A1811-DFF2-43F5-A7A7-22A66EF04CEB}" dt="2022-03-13T22:06:14.611" v="3594" actId="165"/>
          <ac:grpSpMkLst>
            <pc:docMk/>
            <pc:sldMk cId="3268956078" sldId="2145706669"/>
            <ac:grpSpMk id="87" creationId="{01553966-5313-4E83-8F4E-857A7A03534B}"/>
          </ac:grpSpMkLst>
        </pc:grpChg>
        <pc:grpChg chg="mod topLvl">
          <ac:chgData name="Daniel Barnes" userId="b303a15ee67145ed" providerId="LiveId" clId="{4A5A1811-DFF2-43F5-A7A7-22A66EF04CEB}" dt="2022-03-13T22:07:26.210" v="3628" actId="552"/>
          <ac:grpSpMkLst>
            <pc:docMk/>
            <pc:sldMk cId="3268956078" sldId="2145706669"/>
            <ac:grpSpMk id="88" creationId="{E08423B1-0899-4D23-A5E4-6ECDD6665537}"/>
          </ac:grpSpMkLst>
        </pc:grpChg>
        <pc:grpChg chg="mod topLvl">
          <ac:chgData name="Daniel Barnes" userId="b303a15ee67145ed" providerId="LiveId" clId="{4A5A1811-DFF2-43F5-A7A7-22A66EF04CEB}" dt="2022-03-13T22:07:29.328" v="3629" actId="465"/>
          <ac:grpSpMkLst>
            <pc:docMk/>
            <pc:sldMk cId="3268956078" sldId="2145706669"/>
            <ac:grpSpMk id="89" creationId="{2C6ECCBD-95B3-406E-A51B-0005DBA8196C}"/>
          </ac:grpSpMkLst>
        </pc:grpChg>
        <pc:grpChg chg="mod topLvl">
          <ac:chgData name="Daniel Barnes" userId="b303a15ee67145ed" providerId="LiveId" clId="{4A5A1811-DFF2-43F5-A7A7-22A66EF04CEB}" dt="2022-03-13T22:07:29.328" v="3629" actId="465"/>
          <ac:grpSpMkLst>
            <pc:docMk/>
            <pc:sldMk cId="3268956078" sldId="2145706669"/>
            <ac:grpSpMk id="90" creationId="{68C6E4DA-0F06-4249-8C07-86CCC23EB04E}"/>
          </ac:grpSpMkLst>
        </pc:grpChg>
        <pc:grpChg chg="mod topLvl">
          <ac:chgData name="Daniel Barnes" userId="b303a15ee67145ed" providerId="LiveId" clId="{4A5A1811-DFF2-43F5-A7A7-22A66EF04CEB}" dt="2022-03-13T22:07:26.210" v="3628" actId="552"/>
          <ac:grpSpMkLst>
            <pc:docMk/>
            <pc:sldMk cId="3268956078" sldId="2145706669"/>
            <ac:grpSpMk id="91" creationId="{071107B7-A607-4F22-84FD-0375DDEE24FE}"/>
          </ac:grpSpMkLst>
        </pc:grpChg>
        <pc:grpChg chg="add mod">
          <ac:chgData name="Daniel Barnes" userId="b303a15ee67145ed" providerId="LiveId" clId="{4A5A1811-DFF2-43F5-A7A7-22A66EF04CEB}" dt="2022-03-13T22:07:29.328" v="3629" actId="465"/>
          <ac:grpSpMkLst>
            <pc:docMk/>
            <pc:sldMk cId="3268956078" sldId="2145706669"/>
            <ac:grpSpMk id="100" creationId="{68AEA285-1F25-41B4-893E-13537A7950FB}"/>
          </ac:grpSpMkLst>
        </pc:grpChg>
        <pc:picChg chg="add del mod">
          <ac:chgData name="Daniel Barnes" userId="b303a15ee67145ed" providerId="LiveId" clId="{4A5A1811-DFF2-43F5-A7A7-22A66EF04CEB}" dt="2022-04-03T12:54:00.802" v="22248"/>
          <ac:picMkLst>
            <pc:docMk/>
            <pc:sldMk cId="3268956078" sldId="2145706669"/>
            <ac:picMk id="4" creationId="{9C1A0C82-32EA-4CE4-8D49-893279A44224}"/>
          </ac:picMkLst>
        </pc:picChg>
        <pc:picChg chg="add del mod modCrop">
          <ac:chgData name="Daniel Barnes" userId="b303a15ee67145ed" providerId="LiveId" clId="{4A5A1811-DFF2-43F5-A7A7-22A66EF04CEB}" dt="2022-04-03T12:55:16.686" v="22275" actId="478"/>
          <ac:picMkLst>
            <pc:docMk/>
            <pc:sldMk cId="3268956078" sldId="2145706669"/>
            <ac:picMk id="5" creationId="{9962195C-DAA4-4302-9601-6FEB84DCA416}"/>
          </ac:picMkLst>
        </pc:picChg>
        <pc:picChg chg="add mod modCrop">
          <ac:chgData name="Daniel Barnes" userId="b303a15ee67145ed" providerId="LiveId" clId="{4A5A1811-DFF2-43F5-A7A7-22A66EF04CEB}" dt="2022-04-03T12:58:12.092" v="22316" actId="339"/>
          <ac:picMkLst>
            <pc:docMk/>
            <pc:sldMk cId="3268956078" sldId="2145706669"/>
            <ac:picMk id="18" creationId="{62A782CB-FBF8-480B-9344-F1A3121A289C}"/>
          </ac:picMkLst>
        </pc:picChg>
        <pc:picChg chg="add mod">
          <ac:chgData name="Daniel Barnes" userId="b303a15ee67145ed" providerId="LiveId" clId="{4A5A1811-DFF2-43F5-A7A7-22A66EF04CEB}" dt="2022-04-03T12:59:02.499" v="22321" actId="108"/>
          <ac:picMkLst>
            <pc:docMk/>
            <pc:sldMk cId="3268956078" sldId="2145706669"/>
            <ac:picMk id="28" creationId="{994D50CC-53FA-4221-81D3-C6F344821353}"/>
          </ac:picMkLst>
        </pc:picChg>
        <pc:picChg chg="add mod">
          <ac:chgData name="Daniel Barnes" userId="b303a15ee67145ed" providerId="LiveId" clId="{4A5A1811-DFF2-43F5-A7A7-22A66EF04CEB}" dt="2022-04-03T12:54:24.913" v="22255" actId="208"/>
          <ac:picMkLst>
            <pc:docMk/>
            <pc:sldMk cId="3268956078" sldId="2145706669"/>
            <ac:picMk id="39" creationId="{FBADA638-DD2C-45D4-97B8-F549079015B2}"/>
          </ac:picMkLst>
        </pc:picChg>
        <pc:picChg chg="add mod">
          <ac:chgData name="Daniel Barnes" userId="b303a15ee67145ed" providerId="LiveId" clId="{4A5A1811-DFF2-43F5-A7A7-22A66EF04CEB}" dt="2022-04-03T12:54:24.913" v="22255" actId="208"/>
          <ac:picMkLst>
            <pc:docMk/>
            <pc:sldMk cId="3268956078" sldId="2145706669"/>
            <ac:picMk id="48" creationId="{B0121EAB-24D4-4312-8BC0-A550484A2B3F}"/>
          </ac:picMkLst>
        </pc:picChg>
        <pc:picChg chg="add mod topLvl">
          <ac:chgData name="Daniel Barnes" userId="b303a15ee67145ed" providerId="LiveId" clId="{4A5A1811-DFF2-43F5-A7A7-22A66EF04CEB}" dt="2022-04-03T12:53:11.687" v="22227" actId="165"/>
          <ac:picMkLst>
            <pc:docMk/>
            <pc:sldMk cId="3268956078" sldId="2145706669"/>
            <ac:picMk id="50" creationId="{0B98088E-6604-4D67-A1EC-1614BA29603A}"/>
          </ac:picMkLst>
        </pc:picChg>
        <pc:picChg chg="add mod">
          <ac:chgData name="Daniel Barnes" userId="b303a15ee67145ed" providerId="LiveId" clId="{4A5A1811-DFF2-43F5-A7A7-22A66EF04CEB}" dt="2022-04-03T12:52:15.799" v="22222" actId="14100"/>
          <ac:picMkLst>
            <pc:docMk/>
            <pc:sldMk cId="3268956078" sldId="2145706669"/>
            <ac:picMk id="52" creationId="{EF7C2E8E-94D3-4BB8-80CE-7A7EAD67FF99}"/>
          </ac:picMkLst>
        </pc:picChg>
        <pc:picChg chg="mod">
          <ac:chgData name="Daniel Barnes" userId="b303a15ee67145ed" providerId="LiveId" clId="{4A5A1811-DFF2-43F5-A7A7-22A66EF04CEB}" dt="2022-04-03T12:56:32.244" v="22298"/>
          <ac:picMkLst>
            <pc:docMk/>
            <pc:sldMk cId="3268956078" sldId="2145706669"/>
            <ac:picMk id="53" creationId="{2B8BD0D9-CEC3-446E-A156-2DE84D0FA199}"/>
          </ac:picMkLst>
        </pc:picChg>
        <pc:picChg chg="add mod">
          <ac:chgData name="Daniel Barnes" userId="b303a15ee67145ed" providerId="LiveId" clId="{4A5A1811-DFF2-43F5-A7A7-22A66EF04CEB}" dt="2022-03-13T22:04:09.530" v="3578" actId="164"/>
          <ac:picMkLst>
            <pc:docMk/>
            <pc:sldMk cId="3268956078" sldId="2145706669"/>
            <ac:picMk id="54" creationId="{D04DB5DA-393F-422D-A930-C03E8FAE4961}"/>
          </ac:picMkLst>
        </pc:picChg>
        <pc:picChg chg="mod">
          <ac:chgData name="Daniel Barnes" userId="b303a15ee67145ed" providerId="LiveId" clId="{4A5A1811-DFF2-43F5-A7A7-22A66EF04CEB}" dt="2022-04-03T12:56:32.244" v="22298"/>
          <ac:picMkLst>
            <pc:docMk/>
            <pc:sldMk cId="3268956078" sldId="2145706669"/>
            <ac:picMk id="57" creationId="{F4CDAF5B-4398-41B2-9FA6-AAE387398436}"/>
          </ac:picMkLst>
        </pc:picChg>
        <pc:picChg chg="del mod">
          <ac:chgData name="Daniel Barnes" userId="b303a15ee67145ed" providerId="LiveId" clId="{4A5A1811-DFF2-43F5-A7A7-22A66EF04CEB}" dt="2022-03-13T21:55:24.872" v="3432" actId="478"/>
          <ac:picMkLst>
            <pc:docMk/>
            <pc:sldMk cId="3268956078" sldId="2145706669"/>
            <ac:picMk id="60" creationId="{42F9AD93-57AB-46A9-B0B2-B90AA8E6FE98}"/>
          </ac:picMkLst>
        </pc:picChg>
        <pc:picChg chg="mod">
          <ac:chgData name="Daniel Barnes" userId="b303a15ee67145ed" providerId="LiveId" clId="{4A5A1811-DFF2-43F5-A7A7-22A66EF04CEB}" dt="2022-04-03T12:56:38.934" v="22302"/>
          <ac:picMkLst>
            <pc:docMk/>
            <pc:sldMk cId="3268956078" sldId="2145706669"/>
            <ac:picMk id="60" creationId="{9C12B1A5-3978-4376-A16C-22075A7FB133}"/>
          </ac:picMkLst>
        </pc:picChg>
        <pc:picChg chg="mod">
          <ac:chgData name="Daniel Barnes" userId="b303a15ee67145ed" providerId="LiveId" clId="{4A5A1811-DFF2-43F5-A7A7-22A66EF04CEB}" dt="2022-04-03T12:56:38.934" v="22302"/>
          <ac:picMkLst>
            <pc:docMk/>
            <pc:sldMk cId="3268956078" sldId="2145706669"/>
            <ac:picMk id="61" creationId="{408D8216-4839-4D63-860A-C15552D9CEF1}"/>
          </ac:picMkLst>
        </pc:picChg>
        <pc:picChg chg="del mod topLvl">
          <ac:chgData name="Daniel Barnes" userId="b303a15ee67145ed" providerId="LiveId" clId="{4A5A1811-DFF2-43F5-A7A7-22A66EF04CEB}" dt="2022-03-13T21:55:25.975" v="3433" actId="478"/>
          <ac:picMkLst>
            <pc:docMk/>
            <pc:sldMk cId="3268956078" sldId="2145706669"/>
            <ac:picMk id="61" creationId="{5062BACE-4AFF-498F-964D-010A9A7EC092}"/>
          </ac:picMkLst>
        </pc:picChg>
        <pc:picChg chg="del mod">
          <ac:chgData name="Daniel Barnes" userId="b303a15ee67145ed" providerId="LiveId" clId="{4A5A1811-DFF2-43F5-A7A7-22A66EF04CEB}" dt="2022-03-13T21:55:22.103" v="3429" actId="478"/>
          <ac:picMkLst>
            <pc:docMk/>
            <pc:sldMk cId="3268956078" sldId="2145706669"/>
            <ac:picMk id="62" creationId="{D4882A01-7CFB-41B1-B628-549F4C6534AA}"/>
          </ac:picMkLst>
        </pc:picChg>
      </pc:sldChg>
      <pc:sldChg chg="addSp delSp modSp add mod">
        <pc:chgData name="Daniel Barnes" userId="b303a15ee67145ed" providerId="LiveId" clId="{4A5A1811-DFF2-43F5-A7A7-22A66EF04CEB}" dt="2022-04-03T11:13:40.653" v="21073" actId="20578"/>
        <pc:sldMkLst>
          <pc:docMk/>
          <pc:sldMk cId="575714516" sldId="2145706670"/>
        </pc:sldMkLst>
        <pc:spChg chg="mod">
          <ac:chgData name="Daniel Barnes" userId="b303a15ee67145ed" providerId="LiveId" clId="{4A5A1811-DFF2-43F5-A7A7-22A66EF04CEB}" dt="2022-03-13T22:38:56.846" v="4040" actId="20577"/>
          <ac:spMkLst>
            <pc:docMk/>
            <pc:sldMk cId="575714516" sldId="2145706670"/>
            <ac:spMk id="2" creationId="{0107FA66-646B-42C0-A453-9C2949F7188C}"/>
          </ac:spMkLst>
        </pc:spChg>
        <pc:spChg chg="add del mod">
          <ac:chgData name="Daniel Barnes" userId="b303a15ee67145ed" providerId="LiveId" clId="{4A5A1811-DFF2-43F5-A7A7-22A66EF04CEB}" dt="2022-04-03T10:12:45.111" v="19975" actId="478"/>
          <ac:spMkLst>
            <pc:docMk/>
            <pc:sldMk cId="575714516" sldId="2145706670"/>
            <ac:spMk id="3" creationId="{E6EB4016-53BF-47E2-8C18-4CAA9DE4C1F2}"/>
          </ac:spMkLst>
        </pc:spChg>
        <pc:spChg chg="add del mod">
          <ac:chgData name="Daniel Barnes" userId="b303a15ee67145ed" providerId="LiveId" clId="{4A5A1811-DFF2-43F5-A7A7-22A66EF04CEB}" dt="2022-04-03T10:04:48.768" v="19555" actId="478"/>
          <ac:spMkLst>
            <pc:docMk/>
            <pc:sldMk cId="575714516" sldId="2145706670"/>
            <ac:spMk id="6" creationId="{B5612A2A-C2CE-4F49-8B2E-B4ECDE0BCBB6}"/>
          </ac:spMkLst>
        </pc:spChg>
        <pc:spChg chg="add mod topLvl">
          <ac:chgData name="Daniel Barnes" userId="b303a15ee67145ed" providerId="LiveId" clId="{4A5A1811-DFF2-43F5-A7A7-22A66EF04CEB}" dt="2022-04-03T10:43:19.319" v="21034" actId="242"/>
          <ac:spMkLst>
            <pc:docMk/>
            <pc:sldMk cId="575714516" sldId="2145706670"/>
            <ac:spMk id="7" creationId="{E19E86AD-4F22-44EB-985C-3492E63D0619}"/>
          </ac:spMkLst>
        </pc:spChg>
        <pc:spChg chg="add mod topLvl">
          <ac:chgData name="Daniel Barnes" userId="b303a15ee67145ed" providerId="LiveId" clId="{4A5A1811-DFF2-43F5-A7A7-22A66EF04CEB}" dt="2022-04-03T11:13:40.653" v="21073" actId="20578"/>
          <ac:spMkLst>
            <pc:docMk/>
            <pc:sldMk cId="575714516" sldId="2145706670"/>
            <ac:spMk id="8" creationId="{074DE6FD-8B6A-4808-8CE8-E36BFA77926E}"/>
          </ac:spMkLst>
        </pc:spChg>
        <pc:spChg chg="add mod topLvl">
          <ac:chgData name="Daniel Barnes" userId="b303a15ee67145ed" providerId="LiveId" clId="{4A5A1811-DFF2-43F5-A7A7-22A66EF04CEB}" dt="2022-04-03T10:43:22.004" v="21035" actId="242"/>
          <ac:spMkLst>
            <pc:docMk/>
            <pc:sldMk cId="575714516" sldId="2145706670"/>
            <ac:spMk id="9" creationId="{17A875CC-EF90-42D3-815E-2E756F4098E1}"/>
          </ac:spMkLst>
        </pc:spChg>
        <pc:spChg chg="add mod topLvl">
          <ac:chgData name="Daniel Barnes" userId="b303a15ee67145ed" providerId="LiveId" clId="{4A5A1811-DFF2-43F5-A7A7-22A66EF04CEB}" dt="2022-04-03T10:42:44.445" v="21031" actId="165"/>
          <ac:spMkLst>
            <pc:docMk/>
            <pc:sldMk cId="575714516" sldId="2145706670"/>
            <ac:spMk id="10" creationId="{250B2867-39C2-445A-993F-32EE99985034}"/>
          </ac:spMkLst>
        </pc:spChg>
        <pc:spChg chg="add mod topLvl">
          <ac:chgData name="Daniel Barnes" userId="b303a15ee67145ed" providerId="LiveId" clId="{4A5A1811-DFF2-43F5-A7A7-22A66EF04CEB}" dt="2022-04-03T10:43:06.268" v="21033" actId="12789"/>
          <ac:spMkLst>
            <pc:docMk/>
            <pc:sldMk cId="575714516" sldId="2145706670"/>
            <ac:spMk id="11" creationId="{EDEF60D0-E34D-4BF2-91AF-AA41945706AD}"/>
          </ac:spMkLst>
        </pc:spChg>
        <pc:spChg chg="add mod topLvl">
          <ac:chgData name="Daniel Barnes" userId="b303a15ee67145ed" providerId="LiveId" clId="{4A5A1811-DFF2-43F5-A7A7-22A66EF04CEB}" dt="2022-04-03T10:42:44.445" v="21031" actId="165"/>
          <ac:spMkLst>
            <pc:docMk/>
            <pc:sldMk cId="575714516" sldId="2145706670"/>
            <ac:spMk id="12" creationId="{416AF34B-A4D3-4B3C-BE8E-3FDD87E7BFDB}"/>
          </ac:spMkLst>
        </pc:spChg>
        <pc:spChg chg="add del">
          <ac:chgData name="Daniel Barnes" userId="b303a15ee67145ed" providerId="LiveId" clId="{4A5A1811-DFF2-43F5-A7A7-22A66EF04CEB}" dt="2022-04-03T10:06:37.153" v="19700" actId="22"/>
          <ac:spMkLst>
            <pc:docMk/>
            <pc:sldMk cId="575714516" sldId="2145706670"/>
            <ac:spMk id="14" creationId="{56F1B156-C51E-407B-8071-B5BEBA133133}"/>
          </ac:spMkLst>
        </pc:spChg>
        <pc:spChg chg="add mod">
          <ac:chgData name="Daniel Barnes" userId="b303a15ee67145ed" providerId="LiveId" clId="{4A5A1811-DFF2-43F5-A7A7-22A66EF04CEB}" dt="2022-04-03T10:43:06.268" v="21033" actId="12789"/>
          <ac:spMkLst>
            <pc:docMk/>
            <pc:sldMk cId="575714516" sldId="2145706670"/>
            <ac:spMk id="15" creationId="{65F135F2-FAEB-4ADF-8D3D-120DEB6BD95C}"/>
          </ac:spMkLst>
        </pc:spChg>
        <pc:spChg chg="add mod">
          <ac:chgData name="Daniel Barnes" userId="b303a15ee67145ed" providerId="LiveId" clId="{4A5A1811-DFF2-43F5-A7A7-22A66EF04CEB}" dt="2022-04-03T10:43:06.268" v="21033" actId="12789"/>
          <ac:spMkLst>
            <pc:docMk/>
            <pc:sldMk cId="575714516" sldId="2145706670"/>
            <ac:spMk id="16" creationId="{6E840AD5-887F-4118-870B-DC12633121B8}"/>
          </ac:spMkLst>
        </pc:spChg>
        <pc:spChg chg="add mod ord">
          <ac:chgData name="Daniel Barnes" userId="b303a15ee67145ed" providerId="LiveId" clId="{4A5A1811-DFF2-43F5-A7A7-22A66EF04CEB}" dt="2022-04-03T10:11:21.442" v="19965" actId="6549"/>
          <ac:spMkLst>
            <pc:docMk/>
            <pc:sldMk cId="575714516" sldId="2145706670"/>
            <ac:spMk id="17" creationId="{E0987DCC-17D6-4908-99E6-7D8B3662B1B4}"/>
          </ac:spMkLst>
        </pc:spChg>
        <pc:spChg chg="add del mod">
          <ac:chgData name="Daniel Barnes" userId="b303a15ee67145ed" providerId="LiveId" clId="{4A5A1811-DFF2-43F5-A7A7-22A66EF04CEB}" dt="2022-04-03T10:12:50.073" v="19976" actId="478"/>
          <ac:spMkLst>
            <pc:docMk/>
            <pc:sldMk cId="575714516" sldId="2145706670"/>
            <ac:spMk id="20" creationId="{EDB16E92-3991-4762-9C79-20FF0A0A25DB}"/>
          </ac:spMkLst>
        </pc:spChg>
        <pc:spChg chg="mod">
          <ac:chgData name="Daniel Barnes" userId="b303a15ee67145ed" providerId="LiveId" clId="{4A5A1811-DFF2-43F5-A7A7-22A66EF04CEB}" dt="2022-04-03T10:32:43.446" v="20840" actId="164"/>
          <ac:spMkLst>
            <pc:docMk/>
            <pc:sldMk cId="575714516" sldId="2145706670"/>
            <ac:spMk id="24" creationId="{07D883C1-464F-4C67-B17F-FD5247B4E829}"/>
          </ac:spMkLst>
        </pc:spChg>
        <pc:spChg chg="mod">
          <ac:chgData name="Daniel Barnes" userId="b303a15ee67145ed" providerId="LiveId" clId="{4A5A1811-DFF2-43F5-A7A7-22A66EF04CEB}" dt="2022-04-03T10:32:43.446" v="20840" actId="164"/>
          <ac:spMkLst>
            <pc:docMk/>
            <pc:sldMk cId="575714516" sldId="2145706670"/>
            <ac:spMk id="25" creationId="{4C6B533D-FB98-45EA-AD25-C054F782A646}"/>
          </ac:spMkLst>
        </pc:spChg>
        <pc:spChg chg="mod">
          <ac:chgData name="Daniel Barnes" userId="b303a15ee67145ed" providerId="LiveId" clId="{4A5A1811-DFF2-43F5-A7A7-22A66EF04CEB}" dt="2022-04-03T10:32:43.446" v="20840" actId="164"/>
          <ac:spMkLst>
            <pc:docMk/>
            <pc:sldMk cId="575714516" sldId="2145706670"/>
            <ac:spMk id="26" creationId="{FEFDD900-2DAA-4B04-97DB-7AA2D5D34562}"/>
          </ac:spMkLst>
        </pc:spChg>
        <pc:spChg chg="mod">
          <ac:chgData name="Daniel Barnes" userId="b303a15ee67145ed" providerId="LiveId" clId="{4A5A1811-DFF2-43F5-A7A7-22A66EF04CEB}" dt="2022-04-03T10:32:43.446" v="20840" actId="164"/>
          <ac:spMkLst>
            <pc:docMk/>
            <pc:sldMk cId="575714516" sldId="2145706670"/>
            <ac:spMk id="27" creationId="{32E91955-5656-4290-A2B5-2129F205A14E}"/>
          </ac:spMkLst>
        </pc:spChg>
        <pc:spChg chg="mod">
          <ac:chgData name="Daniel Barnes" userId="b303a15ee67145ed" providerId="LiveId" clId="{4A5A1811-DFF2-43F5-A7A7-22A66EF04CEB}" dt="2022-04-03T10:32:43.446" v="20840" actId="164"/>
          <ac:spMkLst>
            <pc:docMk/>
            <pc:sldMk cId="575714516" sldId="2145706670"/>
            <ac:spMk id="28" creationId="{B8EBE2BC-5CA9-4209-AADE-286EB67F83F2}"/>
          </ac:spMkLst>
        </pc:spChg>
        <pc:spChg chg="mod">
          <ac:chgData name="Daniel Barnes" userId="b303a15ee67145ed" providerId="LiveId" clId="{4A5A1811-DFF2-43F5-A7A7-22A66EF04CEB}" dt="2022-04-03T10:32:43.446" v="20840" actId="164"/>
          <ac:spMkLst>
            <pc:docMk/>
            <pc:sldMk cId="575714516" sldId="2145706670"/>
            <ac:spMk id="29" creationId="{A41A1497-BE6F-478E-9A75-7701F69443A1}"/>
          </ac:spMkLst>
        </pc:spChg>
        <pc:spChg chg="mod">
          <ac:chgData name="Daniel Barnes" userId="b303a15ee67145ed" providerId="LiveId" clId="{4A5A1811-DFF2-43F5-A7A7-22A66EF04CEB}" dt="2022-04-03T10:43:06.268" v="21033" actId="12789"/>
          <ac:spMkLst>
            <pc:docMk/>
            <pc:sldMk cId="575714516" sldId="2145706670"/>
            <ac:spMk id="33" creationId="{CCC33B09-9283-4AA2-B86E-82F36479DE2E}"/>
          </ac:spMkLst>
        </pc:spChg>
        <pc:spChg chg="mod">
          <ac:chgData name="Daniel Barnes" userId="b303a15ee67145ed" providerId="LiveId" clId="{4A5A1811-DFF2-43F5-A7A7-22A66EF04CEB}" dt="2022-04-03T10:36:35.631" v="20894" actId="207"/>
          <ac:spMkLst>
            <pc:docMk/>
            <pc:sldMk cId="575714516" sldId="2145706670"/>
            <ac:spMk id="37" creationId="{6E1C6504-1A1C-4808-89E7-A1415B71F972}"/>
          </ac:spMkLst>
        </pc:spChg>
        <pc:spChg chg="mod">
          <ac:chgData name="Daniel Barnes" userId="b303a15ee67145ed" providerId="LiveId" clId="{4A5A1811-DFF2-43F5-A7A7-22A66EF04CEB}" dt="2022-04-03T10:41:05.729" v="21006" actId="14100"/>
          <ac:spMkLst>
            <pc:docMk/>
            <pc:sldMk cId="575714516" sldId="2145706670"/>
            <ac:spMk id="38" creationId="{78737F48-4961-4CEE-9BF3-B2C24547F4AD}"/>
          </ac:spMkLst>
        </pc:spChg>
        <pc:grpChg chg="add del mod">
          <ac:chgData name="Daniel Barnes" userId="b303a15ee67145ed" providerId="LiveId" clId="{4A5A1811-DFF2-43F5-A7A7-22A66EF04CEB}" dt="2022-04-03T10:42:44.445" v="21031" actId="165"/>
          <ac:grpSpMkLst>
            <pc:docMk/>
            <pc:sldMk cId="575714516" sldId="2145706670"/>
            <ac:grpSpMk id="18" creationId="{69B0D981-95E6-4F8A-9F83-374DE8468F8A}"/>
          </ac:grpSpMkLst>
        </pc:grpChg>
        <pc:grpChg chg="del mod">
          <ac:chgData name="Daniel Barnes" userId="b303a15ee67145ed" providerId="LiveId" clId="{4A5A1811-DFF2-43F5-A7A7-22A66EF04CEB}" dt="2022-04-03T10:31:56.183" v="20836" actId="27803"/>
          <ac:grpSpMkLst>
            <pc:docMk/>
            <pc:sldMk cId="575714516" sldId="2145706670"/>
            <ac:grpSpMk id="23" creationId="{09C2A7E3-BB94-45CB-95FF-C8872748C48E}"/>
          </ac:grpSpMkLst>
        </pc:grpChg>
        <pc:grpChg chg="add del mod">
          <ac:chgData name="Daniel Barnes" userId="b303a15ee67145ed" providerId="LiveId" clId="{4A5A1811-DFF2-43F5-A7A7-22A66EF04CEB}" dt="2022-04-03T10:43:06.268" v="21033" actId="12789"/>
          <ac:grpSpMkLst>
            <pc:docMk/>
            <pc:sldMk cId="575714516" sldId="2145706670"/>
            <ac:grpSpMk id="30" creationId="{6099DD02-F20F-411A-AA6B-19855569220E}"/>
          </ac:grpSpMkLst>
        </pc:grpChg>
        <pc:grpChg chg="mod">
          <ac:chgData name="Daniel Barnes" userId="b303a15ee67145ed" providerId="LiveId" clId="{4A5A1811-DFF2-43F5-A7A7-22A66EF04CEB}" dt="2022-04-03T10:43:33.682" v="21036" actId="1076"/>
          <ac:grpSpMkLst>
            <pc:docMk/>
            <pc:sldMk cId="575714516" sldId="2145706670"/>
            <ac:grpSpMk id="36" creationId="{072446BE-97CC-4B96-BD1A-C57DDAD7EFF2}"/>
          </ac:grpSpMkLst>
        </pc:grpChg>
        <pc:picChg chg="add del mod">
          <ac:chgData name="Daniel Barnes" userId="b303a15ee67145ed" providerId="LiveId" clId="{4A5A1811-DFF2-43F5-A7A7-22A66EF04CEB}" dt="2022-04-03T10:31:56.183" v="20836" actId="27803"/>
          <ac:picMkLst>
            <pc:docMk/>
            <pc:sldMk cId="575714516" sldId="2145706670"/>
            <ac:picMk id="22" creationId="{2164D801-44D1-4CF0-A0FF-53DD9779D0AC}"/>
          </ac:picMkLst>
        </pc:picChg>
        <pc:picChg chg="add del mod">
          <ac:chgData name="Daniel Barnes" userId="b303a15ee67145ed" providerId="LiveId" clId="{4A5A1811-DFF2-43F5-A7A7-22A66EF04CEB}" dt="2022-04-03T10:34:11.958" v="20857" actId="27803"/>
          <ac:picMkLst>
            <pc:docMk/>
            <pc:sldMk cId="575714516" sldId="2145706670"/>
            <ac:picMk id="32" creationId="{CCC33B09-9283-4AA2-B86E-82F36479DE2E}"/>
          </ac:picMkLst>
        </pc:picChg>
        <pc:picChg chg="add del mod">
          <ac:chgData name="Daniel Barnes" userId="b303a15ee67145ed" providerId="LiveId" clId="{4A5A1811-DFF2-43F5-A7A7-22A66EF04CEB}" dt="2022-04-03T10:36:30.946" v="20893" actId="27803"/>
          <ac:picMkLst>
            <pc:docMk/>
            <pc:sldMk cId="575714516" sldId="2145706670"/>
            <ac:picMk id="35" creationId="{AB9D87D6-786D-48AE-8927-838B36EE0C6C}"/>
          </ac:picMkLst>
        </pc:picChg>
      </pc:sldChg>
      <pc:sldChg chg="delSp modSp add del mod ord">
        <pc:chgData name="Daniel Barnes" userId="b303a15ee67145ed" providerId="LiveId" clId="{4A5A1811-DFF2-43F5-A7A7-22A66EF04CEB}" dt="2022-04-02T21:26:25.210" v="19548" actId="47"/>
        <pc:sldMkLst>
          <pc:docMk/>
          <pc:sldMk cId="2760681450" sldId="2145706671"/>
        </pc:sldMkLst>
        <pc:spChg chg="mod">
          <ac:chgData name="Daniel Barnes" userId="b303a15ee67145ed" providerId="LiveId" clId="{4A5A1811-DFF2-43F5-A7A7-22A66EF04CEB}" dt="2022-03-13T22:40:26.101" v="4086" actId="20577"/>
          <ac:spMkLst>
            <pc:docMk/>
            <pc:sldMk cId="2760681450" sldId="2145706671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13T22:40:29.181" v="4087" actId="21"/>
          <ac:spMkLst>
            <pc:docMk/>
            <pc:sldMk cId="2760681450" sldId="2145706671"/>
            <ac:spMk id="3" creationId="{E6EB4016-53BF-47E2-8C18-4CAA9DE4C1F2}"/>
          </ac:spMkLst>
        </pc:spChg>
        <pc:spChg chg="del">
          <ac:chgData name="Daniel Barnes" userId="b303a15ee67145ed" providerId="LiveId" clId="{4A5A1811-DFF2-43F5-A7A7-22A66EF04CEB}" dt="2022-03-13T22:40:37.436" v="4089" actId="478"/>
          <ac:spMkLst>
            <pc:docMk/>
            <pc:sldMk cId="2760681450" sldId="2145706671"/>
            <ac:spMk id="4" creationId="{03B143B8-C817-4278-823F-5EC99DE45B22}"/>
          </ac:spMkLst>
        </pc:spChg>
      </pc:sldChg>
      <pc:sldChg chg="delSp modSp add del mod">
        <pc:chgData name="Daniel Barnes" userId="b303a15ee67145ed" providerId="LiveId" clId="{4A5A1811-DFF2-43F5-A7A7-22A66EF04CEB}" dt="2022-04-02T21:26:25.993" v="19549" actId="47"/>
        <pc:sldMkLst>
          <pc:docMk/>
          <pc:sldMk cId="916495278" sldId="2145706672"/>
        </pc:sldMkLst>
        <pc:spChg chg="mod">
          <ac:chgData name="Daniel Barnes" userId="b303a15ee67145ed" providerId="LiveId" clId="{4A5A1811-DFF2-43F5-A7A7-22A66EF04CEB}" dt="2022-03-13T22:41:02.888" v="4098"/>
          <ac:spMkLst>
            <pc:docMk/>
            <pc:sldMk cId="916495278" sldId="2145706672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13T22:41:04.816" v="4099" actId="21"/>
          <ac:spMkLst>
            <pc:docMk/>
            <pc:sldMk cId="916495278" sldId="2145706672"/>
            <ac:spMk id="3" creationId="{E6EB4016-53BF-47E2-8C18-4CAA9DE4C1F2}"/>
          </ac:spMkLst>
        </pc:spChg>
        <pc:spChg chg="del">
          <ac:chgData name="Daniel Barnes" userId="b303a15ee67145ed" providerId="LiveId" clId="{4A5A1811-DFF2-43F5-A7A7-22A66EF04CEB}" dt="2022-03-13T22:40:39.428" v="4090" actId="478"/>
          <ac:spMkLst>
            <pc:docMk/>
            <pc:sldMk cId="916495278" sldId="2145706672"/>
            <ac:spMk id="4" creationId="{03B143B8-C817-4278-823F-5EC99DE45B22}"/>
          </ac:spMkLst>
        </pc:spChg>
      </pc:sldChg>
      <pc:sldChg chg="modSp add del mod">
        <pc:chgData name="Daniel Barnes" userId="b303a15ee67145ed" providerId="LiveId" clId="{4A5A1811-DFF2-43F5-A7A7-22A66EF04CEB}" dt="2022-04-02T21:26:23.904" v="19547" actId="47"/>
        <pc:sldMkLst>
          <pc:docMk/>
          <pc:sldMk cId="3051642975" sldId="2145706673"/>
        </pc:sldMkLst>
        <pc:spChg chg="mod">
          <ac:chgData name="Daniel Barnes" userId="b303a15ee67145ed" providerId="LiveId" clId="{4A5A1811-DFF2-43F5-A7A7-22A66EF04CEB}" dt="2022-03-13T23:07:34.484" v="4753" actId="6549"/>
          <ac:spMkLst>
            <pc:docMk/>
            <pc:sldMk cId="3051642975" sldId="2145706673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13T22:41:17.512" v="4103"/>
          <ac:spMkLst>
            <pc:docMk/>
            <pc:sldMk cId="3051642975" sldId="2145706673"/>
            <ac:spMk id="3" creationId="{E6EB4016-53BF-47E2-8C18-4CAA9DE4C1F2}"/>
          </ac:spMkLst>
        </pc:spChg>
      </pc:sldChg>
      <pc:sldChg chg="addSp delSp modSp add mod ord">
        <pc:chgData name="Daniel Barnes" userId="b303a15ee67145ed" providerId="LiveId" clId="{4A5A1811-DFF2-43F5-A7A7-22A66EF04CEB}" dt="2022-04-02T21:26:56.392" v="19551"/>
        <pc:sldMkLst>
          <pc:docMk/>
          <pc:sldMk cId="1376817971" sldId="2145706674"/>
        </pc:sldMkLst>
        <pc:spChg chg="mod">
          <ac:chgData name="Daniel Barnes" userId="b303a15ee67145ed" providerId="LiveId" clId="{4A5A1811-DFF2-43F5-A7A7-22A66EF04CEB}" dt="2022-03-21T21:55:32.783" v="6707" actId="20577"/>
          <ac:spMkLst>
            <pc:docMk/>
            <pc:sldMk cId="1376817971" sldId="2145706674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2:36:54.335" v="9565" actId="20577"/>
          <ac:spMkLst>
            <pc:docMk/>
            <pc:sldMk cId="1376817971" sldId="2145706674"/>
            <ac:spMk id="3" creationId="{E6EB4016-53BF-47E2-8C18-4CAA9DE4C1F2}"/>
          </ac:spMkLst>
        </pc:spChg>
        <pc:picChg chg="add del mod">
          <ac:chgData name="Daniel Barnes" userId="b303a15ee67145ed" providerId="LiveId" clId="{4A5A1811-DFF2-43F5-A7A7-22A66EF04CEB}" dt="2022-03-21T21:51:13.988" v="6673" actId="478"/>
          <ac:picMkLst>
            <pc:docMk/>
            <pc:sldMk cId="1376817971" sldId="2145706674"/>
            <ac:picMk id="5" creationId="{AE9A340B-F21D-4633-A228-2B5D18100606}"/>
          </ac:picMkLst>
        </pc:picChg>
        <pc:picChg chg="add mod">
          <ac:chgData name="Daniel Barnes" userId="b303a15ee67145ed" providerId="LiveId" clId="{4A5A1811-DFF2-43F5-A7A7-22A66EF04CEB}" dt="2022-04-02T20:33:13.289" v="18664" actId="14100"/>
          <ac:picMkLst>
            <pc:docMk/>
            <pc:sldMk cId="1376817971" sldId="2145706674"/>
            <ac:picMk id="7" creationId="{5C6B8411-6279-4942-BECF-0E7DE08039A5}"/>
          </ac:picMkLst>
        </pc:picChg>
      </pc:sldChg>
      <pc:sldChg chg="addSp modSp add mod ord">
        <pc:chgData name="Daniel Barnes" userId="b303a15ee67145ed" providerId="LiveId" clId="{4A5A1811-DFF2-43F5-A7A7-22A66EF04CEB}" dt="2022-04-03T12:30:27.783" v="22000" actId="6549"/>
        <pc:sldMkLst>
          <pc:docMk/>
          <pc:sldMk cId="2664890310" sldId="2145706675"/>
        </pc:sldMkLst>
        <pc:spChg chg="mod">
          <ac:chgData name="Daniel Barnes" userId="b303a15ee67145ed" providerId="LiveId" clId="{4A5A1811-DFF2-43F5-A7A7-22A66EF04CEB}" dt="2022-03-21T21:59:46.055" v="7024" actId="20577"/>
          <ac:spMkLst>
            <pc:docMk/>
            <pc:sldMk cId="2664890310" sldId="2145706675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3T12:30:27.783" v="22000" actId="6549"/>
          <ac:spMkLst>
            <pc:docMk/>
            <pc:sldMk cId="2664890310" sldId="2145706675"/>
            <ac:spMk id="3" creationId="{E6EB4016-53BF-47E2-8C18-4CAA9DE4C1F2}"/>
          </ac:spMkLst>
        </pc:spChg>
        <pc:picChg chg="add mod">
          <ac:chgData name="Daniel Barnes" userId="b303a15ee67145ed" providerId="LiveId" clId="{4A5A1811-DFF2-43F5-A7A7-22A66EF04CEB}" dt="2022-04-02T20:32:48.765" v="18661" actId="14100"/>
          <ac:picMkLst>
            <pc:docMk/>
            <pc:sldMk cId="2664890310" sldId="2145706675"/>
            <ac:picMk id="5" creationId="{55169FBA-5246-41EB-B939-86215F8A6EB7}"/>
          </ac:picMkLst>
        </pc:picChg>
      </pc:sldChg>
      <pc:sldChg chg="addSp modSp add mod ord">
        <pc:chgData name="Daniel Barnes" userId="b303a15ee67145ed" providerId="LiveId" clId="{4A5A1811-DFF2-43F5-A7A7-22A66EF04CEB}" dt="2022-04-02T21:26:56.392" v="19551"/>
        <pc:sldMkLst>
          <pc:docMk/>
          <pc:sldMk cId="82766872" sldId="2145706676"/>
        </pc:sldMkLst>
        <pc:spChg chg="mod">
          <ac:chgData name="Daniel Barnes" userId="b303a15ee67145ed" providerId="LiveId" clId="{4A5A1811-DFF2-43F5-A7A7-22A66EF04CEB}" dt="2022-03-13T22:55:23.618" v="4444" actId="6549"/>
          <ac:spMkLst>
            <pc:docMk/>
            <pc:sldMk cId="82766872" sldId="2145706676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2:23:11.389" v="8282" actId="20577"/>
          <ac:spMkLst>
            <pc:docMk/>
            <pc:sldMk cId="82766872" sldId="2145706676"/>
            <ac:spMk id="3" creationId="{E6EB4016-53BF-47E2-8C18-4CAA9DE4C1F2}"/>
          </ac:spMkLst>
        </pc:spChg>
        <pc:picChg chg="add mod">
          <ac:chgData name="Daniel Barnes" userId="b303a15ee67145ed" providerId="LiveId" clId="{4A5A1811-DFF2-43F5-A7A7-22A66EF04CEB}" dt="2022-04-02T20:33:22.889" v="18666" actId="14100"/>
          <ac:picMkLst>
            <pc:docMk/>
            <pc:sldMk cId="82766872" sldId="2145706676"/>
            <ac:picMk id="5" creationId="{E3DB5035-D572-425E-90E8-DECB9D02F39E}"/>
          </ac:picMkLst>
        </pc:picChg>
      </pc:sldChg>
      <pc:sldChg chg="addSp modSp add mod ord">
        <pc:chgData name="Daniel Barnes" userId="b303a15ee67145ed" providerId="LiveId" clId="{4A5A1811-DFF2-43F5-A7A7-22A66EF04CEB}" dt="2022-04-02T21:26:56.392" v="19551"/>
        <pc:sldMkLst>
          <pc:docMk/>
          <pc:sldMk cId="2702910666" sldId="2145706677"/>
        </pc:sldMkLst>
        <pc:spChg chg="mod">
          <ac:chgData name="Daniel Barnes" userId="b303a15ee67145ed" providerId="LiveId" clId="{4A5A1811-DFF2-43F5-A7A7-22A66EF04CEB}" dt="2022-03-21T22:14:49.950" v="7864" actId="20577"/>
          <ac:spMkLst>
            <pc:docMk/>
            <pc:sldMk cId="2702910666" sldId="2145706677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2T20:33:52.652" v="18670" actId="14100"/>
          <ac:spMkLst>
            <pc:docMk/>
            <pc:sldMk cId="2702910666" sldId="2145706677"/>
            <ac:spMk id="3" creationId="{E6EB4016-53BF-47E2-8C18-4CAA9DE4C1F2}"/>
          </ac:spMkLst>
        </pc:spChg>
        <pc:picChg chg="add mod">
          <ac:chgData name="Daniel Barnes" userId="b303a15ee67145ed" providerId="LiveId" clId="{4A5A1811-DFF2-43F5-A7A7-22A66EF04CEB}" dt="2022-04-02T20:33:32.427" v="18667" actId="14100"/>
          <ac:picMkLst>
            <pc:docMk/>
            <pc:sldMk cId="2702910666" sldId="2145706677"/>
            <ac:picMk id="5" creationId="{D7DE6A59-7FE8-4904-BC04-04086A45EBB8}"/>
          </ac:picMkLst>
        </pc:picChg>
      </pc:sldChg>
      <pc:sldChg chg="addSp modSp add mod ord">
        <pc:chgData name="Daniel Barnes" userId="b303a15ee67145ed" providerId="LiveId" clId="{4A5A1811-DFF2-43F5-A7A7-22A66EF04CEB}" dt="2022-04-02T21:26:56.392" v="19551"/>
        <pc:sldMkLst>
          <pc:docMk/>
          <pc:sldMk cId="4233032811" sldId="2145706678"/>
        </pc:sldMkLst>
        <pc:spChg chg="mod">
          <ac:chgData name="Daniel Barnes" userId="b303a15ee67145ed" providerId="LiveId" clId="{4A5A1811-DFF2-43F5-A7A7-22A66EF04CEB}" dt="2022-03-13T22:55:47.061" v="4450" actId="207"/>
          <ac:spMkLst>
            <pc:docMk/>
            <pc:sldMk cId="4233032811" sldId="2145706678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2:43:19.316" v="10101" actId="20577"/>
          <ac:spMkLst>
            <pc:docMk/>
            <pc:sldMk cId="4233032811" sldId="2145706678"/>
            <ac:spMk id="3" creationId="{E6EB4016-53BF-47E2-8C18-4CAA9DE4C1F2}"/>
          </ac:spMkLst>
        </pc:spChg>
        <pc:picChg chg="add mod">
          <ac:chgData name="Daniel Barnes" userId="b303a15ee67145ed" providerId="LiveId" clId="{4A5A1811-DFF2-43F5-A7A7-22A66EF04CEB}" dt="2022-04-02T20:34:12.668" v="18672" actId="14100"/>
          <ac:picMkLst>
            <pc:docMk/>
            <pc:sldMk cId="4233032811" sldId="2145706678"/>
            <ac:picMk id="5" creationId="{74B0CCA0-DFEF-4B88-9E2F-5F59C2C95C7E}"/>
          </ac:picMkLst>
        </pc:picChg>
      </pc:sldChg>
      <pc:sldChg chg="addSp delSp modSp add mod ord">
        <pc:chgData name="Daniel Barnes" userId="b303a15ee67145ed" providerId="LiveId" clId="{4A5A1811-DFF2-43F5-A7A7-22A66EF04CEB}" dt="2022-04-03T12:49:26.499" v="22195" actId="108"/>
        <pc:sldMkLst>
          <pc:docMk/>
          <pc:sldMk cId="1928018817" sldId="2145706679"/>
        </pc:sldMkLst>
        <pc:spChg chg="mod">
          <ac:chgData name="Daniel Barnes" userId="b303a15ee67145ed" providerId="LiveId" clId="{4A5A1811-DFF2-43F5-A7A7-22A66EF04CEB}" dt="2022-03-13T22:56:13.682" v="4460" actId="6549"/>
          <ac:spMkLst>
            <pc:docMk/>
            <pc:sldMk cId="1928018817" sldId="2145706679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38:51.922" v="12627" actId="6549"/>
          <ac:spMkLst>
            <pc:docMk/>
            <pc:sldMk cId="1928018817" sldId="2145706679"/>
            <ac:spMk id="3" creationId="{E6EB4016-53BF-47E2-8C18-4CAA9DE4C1F2}"/>
          </ac:spMkLst>
        </pc:spChg>
        <pc:spChg chg="add del mod">
          <ac:chgData name="Daniel Barnes" userId="b303a15ee67145ed" providerId="LiveId" clId="{4A5A1811-DFF2-43F5-A7A7-22A66EF04CEB}" dt="2022-03-21T23:26:40.826" v="11841" actId="478"/>
          <ac:spMkLst>
            <pc:docMk/>
            <pc:sldMk cId="1928018817" sldId="2145706679"/>
            <ac:spMk id="8" creationId="{3BD789C9-0D6F-4023-B58D-D8BA8F49C088}"/>
          </ac:spMkLst>
        </pc:spChg>
        <pc:spChg chg="add del mod">
          <ac:chgData name="Daniel Barnes" userId="b303a15ee67145ed" providerId="LiveId" clId="{4A5A1811-DFF2-43F5-A7A7-22A66EF04CEB}" dt="2022-03-21T23:26:38.554" v="11840" actId="478"/>
          <ac:spMkLst>
            <pc:docMk/>
            <pc:sldMk cId="1928018817" sldId="2145706679"/>
            <ac:spMk id="10" creationId="{29909734-DA07-4D23-8677-820317DA5385}"/>
          </ac:spMkLst>
        </pc:spChg>
        <pc:spChg chg="add mod">
          <ac:chgData name="Daniel Barnes" userId="b303a15ee67145ed" providerId="LiveId" clId="{4A5A1811-DFF2-43F5-A7A7-22A66EF04CEB}" dt="2022-03-21T23:26:41.261" v="11842"/>
          <ac:spMkLst>
            <pc:docMk/>
            <pc:sldMk cId="1928018817" sldId="2145706679"/>
            <ac:spMk id="11" creationId="{1C53322C-9E51-4115-A482-EF76877B1F6F}"/>
          </ac:spMkLst>
        </pc:spChg>
        <pc:grpChg chg="add del mod">
          <ac:chgData name="Daniel Barnes" userId="b303a15ee67145ed" providerId="LiveId" clId="{4A5A1811-DFF2-43F5-A7A7-22A66EF04CEB}" dt="2022-03-21T23:56:19.914" v="13868" actId="478"/>
          <ac:grpSpMkLst>
            <pc:docMk/>
            <pc:sldMk cId="1928018817" sldId="2145706679"/>
            <ac:grpSpMk id="9" creationId="{6163F6E4-7450-403B-9874-D591A87A09C8}"/>
          </ac:grpSpMkLst>
        </pc:grpChg>
        <pc:picChg chg="add del mod topLvl">
          <ac:chgData name="Daniel Barnes" userId="b303a15ee67145ed" providerId="LiveId" clId="{4A5A1811-DFF2-43F5-A7A7-22A66EF04CEB}" dt="2022-03-21T23:56:19.914" v="13868" actId="478"/>
          <ac:picMkLst>
            <pc:docMk/>
            <pc:sldMk cId="1928018817" sldId="2145706679"/>
            <ac:picMk id="5" creationId="{9C43A2BB-8D9C-45AF-A4FD-E4AF19C9F2C2}"/>
          </ac:picMkLst>
        </pc:picChg>
        <pc:picChg chg="add mod topLvl">
          <ac:chgData name="Daniel Barnes" userId="b303a15ee67145ed" providerId="LiveId" clId="{4A5A1811-DFF2-43F5-A7A7-22A66EF04CEB}" dt="2022-04-03T12:49:26.499" v="22195" actId="108"/>
          <ac:picMkLst>
            <pc:docMk/>
            <pc:sldMk cId="1928018817" sldId="2145706679"/>
            <ac:picMk id="7" creationId="{F37ED244-1CA2-4FC0-A950-0A159CC785C2}"/>
          </ac:picMkLst>
        </pc:picChg>
        <pc:picChg chg="add mod">
          <ac:chgData name="Daniel Barnes" userId="b303a15ee67145ed" providerId="LiveId" clId="{4A5A1811-DFF2-43F5-A7A7-22A66EF04CEB}" dt="2022-04-03T12:46:14.708" v="22153" actId="108"/>
          <ac:picMkLst>
            <pc:docMk/>
            <pc:sldMk cId="1928018817" sldId="2145706679"/>
            <ac:picMk id="13" creationId="{846E2ECD-CD23-4E88-8141-3D76CEFB690D}"/>
          </ac:picMkLst>
        </pc:picChg>
      </pc:sldChg>
      <pc:sldChg chg="addSp delSp modSp add mod ord">
        <pc:chgData name="Daniel Barnes" userId="b303a15ee67145ed" providerId="LiveId" clId="{4A5A1811-DFF2-43F5-A7A7-22A66EF04CEB}" dt="2022-04-03T12:49:24.329" v="22194" actId="108"/>
        <pc:sldMkLst>
          <pc:docMk/>
          <pc:sldMk cId="872559501" sldId="2145706680"/>
        </pc:sldMkLst>
        <pc:spChg chg="mod">
          <ac:chgData name="Daniel Barnes" userId="b303a15ee67145ed" providerId="LiveId" clId="{4A5A1811-DFF2-43F5-A7A7-22A66EF04CEB}" dt="2022-03-13T22:56:18.327" v="4462" actId="6549"/>
          <ac:spMkLst>
            <pc:docMk/>
            <pc:sldMk cId="872559501" sldId="2145706680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38:34.884" v="12621" actId="6549"/>
          <ac:spMkLst>
            <pc:docMk/>
            <pc:sldMk cId="872559501" sldId="2145706680"/>
            <ac:spMk id="3" creationId="{E6EB4016-53BF-47E2-8C18-4CAA9DE4C1F2}"/>
          </ac:spMkLst>
        </pc:spChg>
        <pc:spChg chg="mod topLvl">
          <ac:chgData name="Daniel Barnes" userId="b303a15ee67145ed" providerId="LiveId" clId="{4A5A1811-DFF2-43F5-A7A7-22A66EF04CEB}" dt="2022-03-21T23:08:33.674" v="11437" actId="1076"/>
          <ac:spMkLst>
            <pc:docMk/>
            <pc:sldMk cId="872559501" sldId="2145706680"/>
            <ac:spMk id="11" creationId="{F4AC64F1-8C9D-4DBB-8A19-981829822467}"/>
          </ac:spMkLst>
        </pc:spChg>
        <pc:grpChg chg="add del mod">
          <ac:chgData name="Daniel Barnes" userId="b303a15ee67145ed" providerId="LiveId" clId="{4A5A1811-DFF2-43F5-A7A7-22A66EF04CEB}" dt="2022-03-21T23:08:26.363" v="11435" actId="165"/>
          <ac:grpSpMkLst>
            <pc:docMk/>
            <pc:sldMk cId="872559501" sldId="2145706680"/>
            <ac:grpSpMk id="8" creationId="{C5D6E28C-CD39-4A5F-815D-239410999DFF}"/>
          </ac:grpSpMkLst>
        </pc:grpChg>
        <pc:picChg chg="add mod">
          <ac:chgData name="Daniel Barnes" userId="b303a15ee67145ed" providerId="LiveId" clId="{4A5A1811-DFF2-43F5-A7A7-22A66EF04CEB}" dt="2022-03-22T19:53:02.900" v="15970" actId="1440"/>
          <ac:picMkLst>
            <pc:docMk/>
            <pc:sldMk cId="872559501" sldId="2145706680"/>
            <ac:picMk id="5" creationId="{8C39345D-4695-4B4C-BB7C-CD29C2AFC990}"/>
          </ac:picMkLst>
        </pc:picChg>
        <pc:picChg chg="add mod">
          <ac:chgData name="Daniel Barnes" userId="b303a15ee67145ed" providerId="LiveId" clId="{4A5A1811-DFF2-43F5-A7A7-22A66EF04CEB}" dt="2022-04-03T12:49:24.329" v="22194" actId="108"/>
          <ac:picMkLst>
            <pc:docMk/>
            <pc:sldMk cId="872559501" sldId="2145706680"/>
            <ac:picMk id="7" creationId="{C9205A87-4C93-4F34-8255-9BAAB28FCD17}"/>
          </ac:picMkLst>
        </pc:picChg>
        <pc:picChg chg="del mod">
          <ac:chgData name="Daniel Barnes" userId="b303a15ee67145ed" providerId="LiveId" clId="{4A5A1811-DFF2-43F5-A7A7-22A66EF04CEB}" dt="2022-03-21T23:08:19.556" v="11434" actId="478"/>
          <ac:picMkLst>
            <pc:docMk/>
            <pc:sldMk cId="872559501" sldId="2145706680"/>
            <ac:picMk id="9" creationId="{C81438B6-574D-4FAB-9B09-6F357453D9ED}"/>
          </ac:picMkLst>
        </pc:picChg>
        <pc:picChg chg="del mod topLvl">
          <ac:chgData name="Daniel Barnes" userId="b303a15ee67145ed" providerId="LiveId" clId="{4A5A1811-DFF2-43F5-A7A7-22A66EF04CEB}" dt="2022-03-21T23:08:35.009" v="11438" actId="478"/>
          <ac:picMkLst>
            <pc:docMk/>
            <pc:sldMk cId="872559501" sldId="2145706680"/>
            <ac:picMk id="10" creationId="{2C162AB5-425C-435A-AE53-14D679AF9D91}"/>
          </ac:picMkLst>
        </pc:picChg>
      </pc:sldChg>
      <pc:sldChg chg="addSp delSp modSp add mod ord">
        <pc:chgData name="Daniel Barnes" userId="b303a15ee67145ed" providerId="LiveId" clId="{4A5A1811-DFF2-43F5-A7A7-22A66EF04CEB}" dt="2022-04-03T12:49:21.877" v="22193" actId="108"/>
        <pc:sldMkLst>
          <pc:docMk/>
          <pc:sldMk cId="111679069" sldId="2145706681"/>
        </pc:sldMkLst>
        <pc:spChg chg="mod">
          <ac:chgData name="Daniel Barnes" userId="b303a15ee67145ed" providerId="LiveId" clId="{4A5A1811-DFF2-43F5-A7A7-22A66EF04CEB}" dt="2022-03-13T22:56:23.033" v="4464" actId="207"/>
          <ac:spMkLst>
            <pc:docMk/>
            <pc:sldMk cId="111679069" sldId="2145706681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38:10.246" v="12603" actId="6549"/>
          <ac:spMkLst>
            <pc:docMk/>
            <pc:sldMk cId="111679069" sldId="2145706681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5:28.171" v="11791"/>
          <ac:spMkLst>
            <pc:docMk/>
            <pc:sldMk cId="111679069" sldId="2145706681"/>
            <ac:spMk id="13" creationId="{5D85504F-EB95-434D-BFDE-57EEB165C10F}"/>
          </ac:spMkLst>
        </pc:spChg>
        <pc:picChg chg="add del mod">
          <ac:chgData name="Daniel Barnes" userId="b303a15ee67145ed" providerId="LiveId" clId="{4A5A1811-DFF2-43F5-A7A7-22A66EF04CEB}" dt="2022-03-21T23:20:29.782" v="11759" actId="478"/>
          <ac:picMkLst>
            <pc:docMk/>
            <pc:sldMk cId="111679069" sldId="2145706681"/>
            <ac:picMk id="5" creationId="{3F1338D5-FD2A-4D1B-8A46-B8D79AD8886E}"/>
          </ac:picMkLst>
        </pc:picChg>
        <pc:picChg chg="add del mod">
          <ac:chgData name="Daniel Barnes" userId="b303a15ee67145ed" providerId="LiveId" clId="{4A5A1811-DFF2-43F5-A7A7-22A66EF04CEB}" dt="2022-03-21T23:20:48.570" v="11764" actId="478"/>
          <ac:picMkLst>
            <pc:docMk/>
            <pc:sldMk cId="111679069" sldId="2145706681"/>
            <ac:picMk id="7" creationId="{41DA523E-C66C-4681-8D17-6843FF67269D}"/>
          </ac:picMkLst>
        </pc:picChg>
        <pc:picChg chg="add mod">
          <ac:chgData name="Daniel Barnes" userId="b303a15ee67145ed" providerId="LiveId" clId="{4A5A1811-DFF2-43F5-A7A7-22A66EF04CEB}" dt="2022-03-22T19:53:17.397" v="15971" actId="1440"/>
          <ac:picMkLst>
            <pc:docMk/>
            <pc:sldMk cId="111679069" sldId="2145706681"/>
            <ac:picMk id="9" creationId="{BC50FD34-5E89-43E4-B0A3-875A7B0B1E80}"/>
          </ac:picMkLst>
        </pc:picChg>
        <pc:picChg chg="add mod">
          <ac:chgData name="Daniel Barnes" userId="b303a15ee67145ed" providerId="LiveId" clId="{4A5A1811-DFF2-43F5-A7A7-22A66EF04CEB}" dt="2022-04-03T12:49:21.877" v="22193" actId="108"/>
          <ac:picMkLst>
            <pc:docMk/>
            <pc:sldMk cId="111679069" sldId="2145706681"/>
            <ac:picMk id="11" creationId="{702038D2-65BB-44EC-A438-BB9B2605B173}"/>
          </ac:picMkLst>
        </pc:picChg>
        <pc:picChg chg="add del mod">
          <ac:chgData name="Daniel Barnes" userId="b303a15ee67145ed" providerId="LiveId" clId="{4A5A1811-DFF2-43F5-A7A7-22A66EF04CEB}" dt="2022-03-21T23:26:08.353" v="11831" actId="478"/>
          <ac:picMkLst>
            <pc:docMk/>
            <pc:sldMk cId="111679069" sldId="2145706681"/>
            <ac:picMk id="12" creationId="{B4AD7281-9057-4774-B621-7148593182A1}"/>
          </ac:picMkLst>
        </pc:picChg>
      </pc:sldChg>
      <pc:sldChg chg="addSp delSp modSp add mod ord">
        <pc:chgData name="Daniel Barnes" userId="b303a15ee67145ed" providerId="LiveId" clId="{4A5A1811-DFF2-43F5-A7A7-22A66EF04CEB}" dt="2022-04-03T12:49:10.470" v="22192" actId="108"/>
        <pc:sldMkLst>
          <pc:docMk/>
          <pc:sldMk cId="2304292874" sldId="2145706682"/>
        </pc:sldMkLst>
        <pc:spChg chg="mod">
          <ac:chgData name="Daniel Barnes" userId="b303a15ee67145ed" providerId="LiveId" clId="{4A5A1811-DFF2-43F5-A7A7-22A66EF04CEB}" dt="2022-03-13T22:56:28.245" v="4466" actId="207"/>
          <ac:spMkLst>
            <pc:docMk/>
            <pc:sldMk cId="2304292874" sldId="2145706682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40:57.823" v="12661" actId="20577"/>
          <ac:spMkLst>
            <pc:docMk/>
            <pc:sldMk cId="2304292874" sldId="2145706682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6:22.857" v="11832"/>
          <ac:spMkLst>
            <pc:docMk/>
            <pc:sldMk cId="2304292874" sldId="2145706682"/>
            <ac:spMk id="12" creationId="{801B4DEE-B97E-4921-9A67-9F2D2730D05E}"/>
          </ac:spMkLst>
        </pc:spChg>
        <pc:picChg chg="add del mod">
          <ac:chgData name="Daniel Barnes" userId="b303a15ee67145ed" providerId="LiveId" clId="{4A5A1811-DFF2-43F5-A7A7-22A66EF04CEB}" dt="2022-03-21T23:21:56.737" v="11775" actId="478"/>
          <ac:picMkLst>
            <pc:docMk/>
            <pc:sldMk cId="2304292874" sldId="2145706682"/>
            <ac:picMk id="5" creationId="{2137E22D-7AD0-46D4-811E-8FD3E9E4F3A8}"/>
          </ac:picMkLst>
        </pc:picChg>
        <pc:picChg chg="add del mod">
          <ac:chgData name="Daniel Barnes" userId="b303a15ee67145ed" providerId="LiveId" clId="{4A5A1811-DFF2-43F5-A7A7-22A66EF04CEB}" dt="2022-03-21T23:21:35.970" v="11768" actId="478"/>
          <ac:picMkLst>
            <pc:docMk/>
            <pc:sldMk cId="2304292874" sldId="2145706682"/>
            <ac:picMk id="7" creationId="{42DECA9C-6F56-41E8-99DC-780F6D7B5E22}"/>
          </ac:picMkLst>
        </pc:picChg>
        <pc:picChg chg="add mod">
          <ac:chgData name="Daniel Barnes" userId="b303a15ee67145ed" providerId="LiveId" clId="{4A5A1811-DFF2-43F5-A7A7-22A66EF04CEB}" dt="2022-04-03T12:49:10.470" v="22192" actId="108"/>
          <ac:picMkLst>
            <pc:docMk/>
            <pc:sldMk cId="2304292874" sldId="2145706682"/>
            <ac:picMk id="9" creationId="{66076630-D089-4035-BE64-B1AC97D7C1C6}"/>
          </ac:picMkLst>
        </pc:picChg>
        <pc:picChg chg="add mod">
          <ac:chgData name="Daniel Barnes" userId="b303a15ee67145ed" providerId="LiveId" clId="{4A5A1811-DFF2-43F5-A7A7-22A66EF04CEB}" dt="2022-03-22T19:53:26.245" v="15972" actId="1440"/>
          <ac:picMkLst>
            <pc:docMk/>
            <pc:sldMk cId="2304292874" sldId="2145706682"/>
            <ac:picMk id="11" creationId="{A28D3CA6-E066-48F2-83D6-0C47F820962E}"/>
          </ac:picMkLst>
        </pc:picChg>
      </pc:sldChg>
      <pc:sldChg chg="addSp modSp add mod ord">
        <pc:chgData name="Daniel Barnes" userId="b303a15ee67145ed" providerId="LiveId" clId="{4A5A1811-DFF2-43F5-A7A7-22A66EF04CEB}" dt="2022-04-03T12:49:03.936" v="22190" actId="108"/>
        <pc:sldMkLst>
          <pc:docMk/>
          <pc:sldMk cId="3436852672" sldId="2145706683"/>
        </pc:sldMkLst>
        <pc:spChg chg="mod">
          <ac:chgData name="Daniel Barnes" userId="b303a15ee67145ed" providerId="LiveId" clId="{4A5A1811-DFF2-43F5-A7A7-22A66EF04CEB}" dt="2022-03-13T22:56:33.356" v="4468" actId="207"/>
          <ac:spMkLst>
            <pc:docMk/>
            <pc:sldMk cId="3436852672" sldId="2145706683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40:52.711" v="12660" actId="20577"/>
          <ac:spMkLst>
            <pc:docMk/>
            <pc:sldMk cId="3436852672" sldId="2145706683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6:25.790" v="11834"/>
          <ac:spMkLst>
            <pc:docMk/>
            <pc:sldMk cId="3436852672" sldId="2145706683"/>
            <ac:spMk id="8" creationId="{8110911A-B0A5-4963-A1A6-A1E9F9E4AD9F}"/>
          </ac:spMkLst>
        </pc:spChg>
        <pc:picChg chg="add mod">
          <ac:chgData name="Daniel Barnes" userId="b303a15ee67145ed" providerId="LiveId" clId="{4A5A1811-DFF2-43F5-A7A7-22A66EF04CEB}" dt="2022-03-22T19:53:36.475" v="15974" actId="1440"/>
          <ac:picMkLst>
            <pc:docMk/>
            <pc:sldMk cId="3436852672" sldId="2145706683"/>
            <ac:picMk id="5" creationId="{71C3FEA7-96A8-4984-AD5D-6171B6995C76}"/>
          </ac:picMkLst>
        </pc:picChg>
        <pc:picChg chg="add mod">
          <ac:chgData name="Daniel Barnes" userId="b303a15ee67145ed" providerId="LiveId" clId="{4A5A1811-DFF2-43F5-A7A7-22A66EF04CEB}" dt="2022-04-03T12:49:03.936" v="22190" actId="108"/>
          <ac:picMkLst>
            <pc:docMk/>
            <pc:sldMk cId="3436852672" sldId="2145706683"/>
            <ac:picMk id="7" creationId="{07DB6356-78B7-479A-A3F7-0FB23A05728D}"/>
          </ac:picMkLst>
        </pc:picChg>
      </pc:sldChg>
      <pc:sldChg chg="addSp modSp add mod ord">
        <pc:chgData name="Daniel Barnes" userId="b303a15ee67145ed" providerId="LiveId" clId="{4A5A1811-DFF2-43F5-A7A7-22A66EF04CEB}" dt="2022-04-03T12:49:00.360" v="22189" actId="108"/>
        <pc:sldMkLst>
          <pc:docMk/>
          <pc:sldMk cId="2271103421" sldId="2145706684"/>
        </pc:sldMkLst>
        <pc:spChg chg="mod">
          <ac:chgData name="Daniel Barnes" userId="b303a15ee67145ed" providerId="LiveId" clId="{4A5A1811-DFF2-43F5-A7A7-22A66EF04CEB}" dt="2022-03-13T22:56:43.663" v="4470" actId="207"/>
          <ac:spMkLst>
            <pc:docMk/>
            <pc:sldMk cId="2271103421" sldId="2145706684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43:00.171" v="12832" actId="20577"/>
          <ac:spMkLst>
            <pc:docMk/>
            <pc:sldMk cId="2271103421" sldId="2145706684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6:27.931" v="11835"/>
          <ac:spMkLst>
            <pc:docMk/>
            <pc:sldMk cId="2271103421" sldId="2145706684"/>
            <ac:spMk id="8" creationId="{D00A55F6-95C7-4941-9E59-02BD45A5A209}"/>
          </ac:spMkLst>
        </pc:spChg>
        <pc:picChg chg="add mod">
          <ac:chgData name="Daniel Barnes" userId="b303a15ee67145ed" providerId="LiveId" clId="{4A5A1811-DFF2-43F5-A7A7-22A66EF04CEB}" dt="2022-03-22T19:53:43.150" v="15975" actId="1440"/>
          <ac:picMkLst>
            <pc:docMk/>
            <pc:sldMk cId="2271103421" sldId="2145706684"/>
            <ac:picMk id="5" creationId="{1B68E7D9-81E5-4460-973D-88FDAF920992}"/>
          </ac:picMkLst>
        </pc:picChg>
        <pc:picChg chg="add mod">
          <ac:chgData name="Daniel Barnes" userId="b303a15ee67145ed" providerId="LiveId" clId="{4A5A1811-DFF2-43F5-A7A7-22A66EF04CEB}" dt="2022-04-03T12:49:00.360" v="22189" actId="108"/>
          <ac:picMkLst>
            <pc:docMk/>
            <pc:sldMk cId="2271103421" sldId="2145706684"/>
            <ac:picMk id="7" creationId="{5813E184-31A4-44F6-8E04-B0422120E8BF}"/>
          </ac:picMkLst>
        </pc:picChg>
      </pc:sldChg>
      <pc:sldChg chg="addSp modSp add mod ord">
        <pc:chgData name="Daniel Barnes" userId="b303a15ee67145ed" providerId="LiveId" clId="{4A5A1811-DFF2-43F5-A7A7-22A66EF04CEB}" dt="2022-04-03T12:48:56.615" v="22188" actId="108"/>
        <pc:sldMkLst>
          <pc:docMk/>
          <pc:sldMk cId="3547060833" sldId="2145706685"/>
        </pc:sldMkLst>
        <pc:spChg chg="mod">
          <ac:chgData name="Daniel Barnes" userId="b303a15ee67145ed" providerId="LiveId" clId="{4A5A1811-DFF2-43F5-A7A7-22A66EF04CEB}" dt="2022-03-13T22:56:48.694" v="4472" actId="207"/>
          <ac:spMkLst>
            <pc:docMk/>
            <pc:sldMk cId="3547060833" sldId="2145706685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47:00.649" v="13401" actId="108"/>
          <ac:spMkLst>
            <pc:docMk/>
            <pc:sldMk cId="3547060833" sldId="2145706685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6:29.565" v="11836"/>
          <ac:spMkLst>
            <pc:docMk/>
            <pc:sldMk cId="3547060833" sldId="2145706685"/>
            <ac:spMk id="8" creationId="{037B3AE1-6D36-4754-9B2A-EE291B5EC6E6}"/>
          </ac:spMkLst>
        </pc:spChg>
        <pc:picChg chg="add mod">
          <ac:chgData name="Daniel Barnes" userId="b303a15ee67145ed" providerId="LiveId" clId="{4A5A1811-DFF2-43F5-A7A7-22A66EF04CEB}" dt="2022-03-22T19:53:49.072" v="15976" actId="108"/>
          <ac:picMkLst>
            <pc:docMk/>
            <pc:sldMk cId="3547060833" sldId="2145706685"/>
            <ac:picMk id="5" creationId="{8DB41782-2457-491F-AB72-BBC3943EAD6C}"/>
          </ac:picMkLst>
        </pc:picChg>
        <pc:picChg chg="add mod">
          <ac:chgData name="Daniel Barnes" userId="b303a15ee67145ed" providerId="LiveId" clId="{4A5A1811-DFF2-43F5-A7A7-22A66EF04CEB}" dt="2022-04-03T12:48:56.615" v="22188" actId="108"/>
          <ac:picMkLst>
            <pc:docMk/>
            <pc:sldMk cId="3547060833" sldId="2145706685"/>
            <ac:picMk id="7" creationId="{A175836D-2FD9-429E-AE10-7F89B7A43099}"/>
          </ac:picMkLst>
        </pc:picChg>
      </pc:sldChg>
      <pc:sldChg chg="addSp modSp add mod ord setBg">
        <pc:chgData name="Daniel Barnes" userId="b303a15ee67145ed" providerId="LiveId" clId="{4A5A1811-DFF2-43F5-A7A7-22A66EF04CEB}" dt="2022-04-03T12:48:52.046" v="22187" actId="108"/>
        <pc:sldMkLst>
          <pc:docMk/>
          <pc:sldMk cId="4277568149" sldId="2145706686"/>
        </pc:sldMkLst>
        <pc:spChg chg="mod">
          <ac:chgData name="Daniel Barnes" userId="b303a15ee67145ed" providerId="LiveId" clId="{4A5A1811-DFF2-43F5-A7A7-22A66EF04CEB}" dt="2022-03-21T23:30:40.236" v="12138"/>
          <ac:spMkLst>
            <pc:docMk/>
            <pc:sldMk cId="4277568149" sldId="2145706686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50:58.549" v="13552" actId="20577"/>
          <ac:spMkLst>
            <pc:docMk/>
            <pc:sldMk cId="4277568149" sldId="2145706686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6:30.999" v="11837"/>
          <ac:spMkLst>
            <pc:docMk/>
            <pc:sldMk cId="4277568149" sldId="2145706686"/>
            <ac:spMk id="8" creationId="{8316B8CA-7D59-4050-A066-9B5625E6A76F}"/>
          </ac:spMkLst>
        </pc:spChg>
        <pc:picChg chg="add mod">
          <ac:chgData name="Daniel Barnes" userId="b303a15ee67145ed" providerId="LiveId" clId="{4A5A1811-DFF2-43F5-A7A7-22A66EF04CEB}" dt="2022-03-22T19:53:52.284" v="15977" actId="108"/>
          <ac:picMkLst>
            <pc:docMk/>
            <pc:sldMk cId="4277568149" sldId="2145706686"/>
            <ac:picMk id="5" creationId="{27D49347-C0E6-4AA9-B25C-30060E2444E5}"/>
          </ac:picMkLst>
        </pc:picChg>
        <pc:picChg chg="add mod">
          <ac:chgData name="Daniel Barnes" userId="b303a15ee67145ed" providerId="LiveId" clId="{4A5A1811-DFF2-43F5-A7A7-22A66EF04CEB}" dt="2022-04-03T12:48:52.046" v="22187" actId="108"/>
          <ac:picMkLst>
            <pc:docMk/>
            <pc:sldMk cId="4277568149" sldId="2145706686"/>
            <ac:picMk id="7" creationId="{B5CB2688-64E0-47C0-BA64-C6A7DC60F686}"/>
          </ac:picMkLst>
        </pc:picChg>
      </pc:sldChg>
      <pc:sldChg chg="addSp modSp add mod ord">
        <pc:chgData name="Daniel Barnes" userId="b303a15ee67145ed" providerId="LiveId" clId="{4A5A1811-DFF2-43F5-A7A7-22A66EF04CEB}" dt="2022-04-03T12:48:43.820" v="22186" actId="1582"/>
        <pc:sldMkLst>
          <pc:docMk/>
          <pc:sldMk cId="3510424751" sldId="2145706687"/>
        </pc:sldMkLst>
        <pc:spChg chg="mod">
          <ac:chgData name="Daniel Barnes" userId="b303a15ee67145ed" providerId="LiveId" clId="{4A5A1811-DFF2-43F5-A7A7-22A66EF04CEB}" dt="2022-03-13T22:56:58.916" v="4476" actId="207"/>
          <ac:spMkLst>
            <pc:docMk/>
            <pc:sldMk cId="3510424751" sldId="2145706687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54:55.946" v="13856" actId="6549"/>
          <ac:spMkLst>
            <pc:docMk/>
            <pc:sldMk cId="3510424751" sldId="2145706687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6:32.711" v="11838"/>
          <ac:spMkLst>
            <pc:docMk/>
            <pc:sldMk cId="3510424751" sldId="2145706687"/>
            <ac:spMk id="8" creationId="{00593BBD-21D6-4EFD-BA6D-CF55DBAFE911}"/>
          </ac:spMkLst>
        </pc:spChg>
        <pc:picChg chg="add mod">
          <ac:chgData name="Daniel Barnes" userId="b303a15ee67145ed" providerId="LiveId" clId="{4A5A1811-DFF2-43F5-A7A7-22A66EF04CEB}" dt="2022-03-22T19:53:54.911" v="15978" actId="108"/>
          <ac:picMkLst>
            <pc:docMk/>
            <pc:sldMk cId="3510424751" sldId="2145706687"/>
            <ac:picMk id="5" creationId="{E1ACC389-5CD4-4704-8926-D2C2BC056C91}"/>
          </ac:picMkLst>
        </pc:picChg>
        <pc:picChg chg="add mod">
          <ac:chgData name="Daniel Barnes" userId="b303a15ee67145ed" providerId="LiveId" clId="{4A5A1811-DFF2-43F5-A7A7-22A66EF04CEB}" dt="2022-04-03T12:48:43.820" v="22186" actId="1582"/>
          <ac:picMkLst>
            <pc:docMk/>
            <pc:sldMk cId="3510424751" sldId="2145706687"/>
            <ac:picMk id="7" creationId="{560491BC-24C6-41C4-B191-B66AC1EDF4AD}"/>
          </ac:picMkLst>
        </pc:picChg>
      </pc:sldChg>
      <pc:sldChg chg="addSp delSp modSp add mod ord modClrScheme chgLayout">
        <pc:chgData name="Daniel Barnes" userId="b303a15ee67145ed" providerId="LiveId" clId="{4A5A1811-DFF2-43F5-A7A7-22A66EF04CEB}" dt="2022-04-02T21:26:56.392" v="19551"/>
        <pc:sldMkLst>
          <pc:docMk/>
          <pc:sldMk cId="2832483055" sldId="2145706688"/>
        </pc:sldMkLst>
        <pc:spChg chg="mod ord">
          <ac:chgData name="Daniel Barnes" userId="b303a15ee67145ed" providerId="LiveId" clId="{4A5A1811-DFF2-43F5-A7A7-22A66EF04CEB}" dt="2022-03-13T22:55:39.121" v="4448" actId="12789"/>
          <ac:spMkLst>
            <pc:docMk/>
            <pc:sldMk cId="2832483055" sldId="2145706688"/>
            <ac:spMk id="2" creationId="{0107FA66-646B-42C0-A453-9C2949F7188C}"/>
          </ac:spMkLst>
        </pc:spChg>
        <pc:spChg chg="del mod ord">
          <ac:chgData name="Daniel Barnes" userId="b303a15ee67145ed" providerId="LiveId" clId="{4A5A1811-DFF2-43F5-A7A7-22A66EF04CEB}" dt="2022-03-13T22:49:28.334" v="4254" actId="700"/>
          <ac:spMkLst>
            <pc:docMk/>
            <pc:sldMk cId="2832483055" sldId="2145706688"/>
            <ac:spMk id="3" creationId="{E6EB4016-53BF-47E2-8C18-4CAA9DE4C1F2}"/>
          </ac:spMkLst>
        </pc:spChg>
        <pc:spChg chg="add del mod ord">
          <ac:chgData name="Daniel Barnes" userId="b303a15ee67145ed" providerId="LiveId" clId="{4A5A1811-DFF2-43F5-A7A7-22A66EF04CEB}" dt="2022-03-13T22:49:32.172" v="4255" actId="700"/>
          <ac:spMkLst>
            <pc:docMk/>
            <pc:sldMk cId="2832483055" sldId="2145706688"/>
            <ac:spMk id="4" creationId="{11E14CB2-A376-4E53-A5B5-3D5130049988}"/>
          </ac:spMkLst>
        </pc:spChg>
        <pc:spChg chg="add del mod ord">
          <ac:chgData name="Daniel Barnes" userId="b303a15ee67145ed" providerId="LiveId" clId="{4A5A1811-DFF2-43F5-A7A7-22A66EF04CEB}" dt="2022-03-13T22:49:32.172" v="4255" actId="700"/>
          <ac:spMkLst>
            <pc:docMk/>
            <pc:sldMk cId="2832483055" sldId="2145706688"/>
            <ac:spMk id="5" creationId="{F5DDF5D7-F1DB-4F72-8134-E17B7E98114C}"/>
          </ac:spMkLst>
        </pc:spChg>
        <pc:spChg chg="add del mod ord">
          <ac:chgData name="Daniel Barnes" userId="b303a15ee67145ed" providerId="LiveId" clId="{4A5A1811-DFF2-43F5-A7A7-22A66EF04CEB}" dt="2022-03-13T22:49:33.956" v="4256" actId="478"/>
          <ac:spMkLst>
            <pc:docMk/>
            <pc:sldMk cId="2832483055" sldId="2145706688"/>
            <ac:spMk id="6" creationId="{4F1A4E85-94F2-4846-AD88-DD313E8CF7BD}"/>
          </ac:spMkLst>
        </pc:spChg>
      </pc:sldChg>
      <pc:sldChg chg="modSp add mod ord">
        <pc:chgData name="Daniel Barnes" userId="b303a15ee67145ed" providerId="LiveId" clId="{4A5A1811-DFF2-43F5-A7A7-22A66EF04CEB}" dt="2022-04-02T21:26:56.392" v="19551"/>
        <pc:sldMkLst>
          <pc:docMk/>
          <pc:sldMk cId="1951719549" sldId="2145706689"/>
        </pc:sldMkLst>
        <pc:spChg chg="mod">
          <ac:chgData name="Daniel Barnes" userId="b303a15ee67145ed" providerId="LiveId" clId="{4A5A1811-DFF2-43F5-A7A7-22A66EF04CEB}" dt="2022-03-13T22:56:06.004" v="4458" actId="12789"/>
          <ac:spMkLst>
            <pc:docMk/>
            <pc:sldMk cId="1951719549" sldId="2145706689"/>
            <ac:spMk id="2" creationId="{0107FA66-646B-42C0-A453-9C2949F7188C}"/>
          </ac:spMkLst>
        </pc:spChg>
      </pc:sldChg>
      <pc:sldChg chg="modSp add mod ord">
        <pc:chgData name="Daniel Barnes" userId="b303a15ee67145ed" providerId="LiveId" clId="{4A5A1811-DFF2-43F5-A7A7-22A66EF04CEB}" dt="2022-04-02T21:26:56.392" v="19551"/>
        <pc:sldMkLst>
          <pc:docMk/>
          <pc:sldMk cId="3485903439" sldId="2145706690"/>
        </pc:sldMkLst>
        <pc:spChg chg="mod">
          <ac:chgData name="Daniel Barnes" userId="b303a15ee67145ed" providerId="LiveId" clId="{4A5A1811-DFF2-43F5-A7A7-22A66EF04CEB}" dt="2022-03-13T22:50:45.270" v="4335" actId="20577"/>
          <ac:spMkLst>
            <pc:docMk/>
            <pc:sldMk cId="3485903439" sldId="2145706690"/>
            <ac:spMk id="2" creationId="{0107FA66-646B-42C0-A453-9C2949F7188C}"/>
          </ac:spMkLst>
        </pc:spChg>
      </pc:sldChg>
      <pc:sldChg chg="addSp modSp add mod ord">
        <pc:chgData name="Daniel Barnes" userId="b303a15ee67145ed" providerId="LiveId" clId="{4A5A1811-DFF2-43F5-A7A7-22A66EF04CEB}" dt="2022-04-02T21:26:56.392" v="19551"/>
        <pc:sldMkLst>
          <pc:docMk/>
          <pc:sldMk cId="88195222" sldId="2145706691"/>
        </pc:sldMkLst>
        <pc:spChg chg="mod">
          <ac:chgData name="Daniel Barnes" userId="b303a15ee67145ed" providerId="LiveId" clId="{4A5A1811-DFF2-43F5-A7A7-22A66EF04CEB}" dt="2022-03-22T19:44:53.714" v="15605" actId="20577"/>
          <ac:spMkLst>
            <pc:docMk/>
            <pc:sldMk cId="88195222" sldId="2145706691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2T20:01:35.140" v="16155" actId="242"/>
          <ac:spMkLst>
            <pc:docMk/>
            <pc:sldMk cId="88195222" sldId="2145706691"/>
            <ac:spMk id="3" creationId="{E6EB4016-53BF-47E2-8C18-4CAA9DE4C1F2}"/>
          </ac:spMkLst>
        </pc:spChg>
        <pc:picChg chg="add mod modCrop">
          <ac:chgData name="Daniel Barnes" userId="b303a15ee67145ed" providerId="LiveId" clId="{4A5A1811-DFF2-43F5-A7A7-22A66EF04CEB}" dt="2022-03-22T19:58:59.177" v="16012" actId="1036"/>
          <ac:picMkLst>
            <pc:docMk/>
            <pc:sldMk cId="88195222" sldId="2145706691"/>
            <ac:picMk id="5" creationId="{830E6953-316E-42EB-95D1-99F67DA414D8}"/>
          </ac:picMkLst>
        </pc:picChg>
        <pc:picChg chg="add mod">
          <ac:chgData name="Daniel Barnes" userId="b303a15ee67145ed" providerId="LiveId" clId="{4A5A1811-DFF2-43F5-A7A7-22A66EF04CEB}" dt="2022-03-22T19:58:59.177" v="16012" actId="1036"/>
          <ac:picMkLst>
            <pc:docMk/>
            <pc:sldMk cId="88195222" sldId="2145706691"/>
            <ac:picMk id="7" creationId="{2F1A4898-110E-45CB-9796-031F12CC5C36}"/>
          </ac:picMkLst>
        </pc:picChg>
        <pc:picChg chg="add mod">
          <ac:chgData name="Daniel Barnes" userId="b303a15ee67145ed" providerId="LiveId" clId="{4A5A1811-DFF2-43F5-A7A7-22A66EF04CEB}" dt="2022-03-22T20:00:18.705" v="16019" actId="1036"/>
          <ac:picMkLst>
            <pc:docMk/>
            <pc:sldMk cId="88195222" sldId="2145706691"/>
            <ac:picMk id="9" creationId="{ED5DAAF4-F0FD-496A-A5FD-EDD46E8D9201}"/>
          </ac:picMkLst>
        </pc:picChg>
        <pc:picChg chg="add mod">
          <ac:chgData name="Daniel Barnes" userId="b303a15ee67145ed" providerId="LiveId" clId="{4A5A1811-DFF2-43F5-A7A7-22A66EF04CEB}" dt="2022-03-22T20:00:18.705" v="16019" actId="1036"/>
          <ac:picMkLst>
            <pc:docMk/>
            <pc:sldMk cId="88195222" sldId="2145706691"/>
            <ac:picMk id="11" creationId="{84F9D811-0565-48B1-B761-E038A313E4C1}"/>
          </ac:picMkLst>
        </pc:picChg>
        <pc:cxnChg chg="add mod">
          <ac:chgData name="Daniel Barnes" userId="b303a15ee67145ed" providerId="LiveId" clId="{4A5A1811-DFF2-43F5-A7A7-22A66EF04CEB}" dt="2022-03-22T20:14:31.130" v="16254" actId="14100"/>
          <ac:cxnSpMkLst>
            <pc:docMk/>
            <pc:sldMk cId="88195222" sldId="2145706691"/>
            <ac:cxnSpMk id="13" creationId="{A431E1EE-7A9E-47B1-8975-52E55A84DDFB}"/>
          </ac:cxnSpMkLst>
        </pc:cxnChg>
        <pc:cxnChg chg="add mod">
          <ac:chgData name="Daniel Barnes" userId="b303a15ee67145ed" providerId="LiveId" clId="{4A5A1811-DFF2-43F5-A7A7-22A66EF04CEB}" dt="2022-03-22T20:14:47.577" v="16258" actId="14100"/>
          <ac:cxnSpMkLst>
            <pc:docMk/>
            <pc:sldMk cId="88195222" sldId="2145706691"/>
            <ac:cxnSpMk id="17" creationId="{211FF143-CEC6-4CA3-89FE-0F8B1F81702C}"/>
          </ac:cxnSpMkLst>
        </pc:cxnChg>
        <pc:cxnChg chg="add mod">
          <ac:chgData name="Daniel Barnes" userId="b303a15ee67145ed" providerId="LiveId" clId="{4A5A1811-DFF2-43F5-A7A7-22A66EF04CEB}" dt="2022-03-22T20:14:43.686" v="16257" actId="14100"/>
          <ac:cxnSpMkLst>
            <pc:docMk/>
            <pc:sldMk cId="88195222" sldId="2145706691"/>
            <ac:cxnSpMk id="24" creationId="{7479C3A5-0B3A-45AB-A779-91C6A72446F6}"/>
          </ac:cxnSpMkLst>
        </pc:cxnChg>
      </pc:sldChg>
      <pc:sldChg chg="addSp delSp modSp add mod ord">
        <pc:chgData name="Daniel Barnes" userId="b303a15ee67145ed" providerId="LiveId" clId="{4A5A1811-DFF2-43F5-A7A7-22A66EF04CEB}" dt="2022-04-02T21:26:56.392" v="19551"/>
        <pc:sldMkLst>
          <pc:docMk/>
          <pc:sldMk cId="3980941400" sldId="2145706692"/>
        </pc:sldMkLst>
        <pc:spChg chg="mod">
          <ac:chgData name="Daniel Barnes" userId="b303a15ee67145ed" providerId="LiveId" clId="{4A5A1811-DFF2-43F5-A7A7-22A66EF04CEB}" dt="2022-03-22T20:16:26.721" v="16311" actId="20577"/>
          <ac:spMkLst>
            <pc:docMk/>
            <pc:sldMk cId="3980941400" sldId="2145706692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2T20:19:58.777" v="16507" actId="14100"/>
          <ac:spMkLst>
            <pc:docMk/>
            <pc:sldMk cId="3980941400" sldId="2145706692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2T20:19:43.545" v="16505" actId="1076"/>
          <ac:spMkLst>
            <pc:docMk/>
            <pc:sldMk cId="3980941400" sldId="2145706692"/>
            <ac:spMk id="37" creationId="{80D44313-C0AE-4654-9D60-DEC2AF70D33D}"/>
          </ac:spMkLst>
        </pc:spChg>
        <pc:spChg chg="add mod">
          <ac:chgData name="Daniel Barnes" userId="b303a15ee67145ed" providerId="LiveId" clId="{4A5A1811-DFF2-43F5-A7A7-22A66EF04CEB}" dt="2022-03-22T20:23:50.563" v="16595" actId="14100"/>
          <ac:spMkLst>
            <pc:docMk/>
            <pc:sldMk cId="3980941400" sldId="2145706692"/>
            <ac:spMk id="39" creationId="{44CF0C46-6155-4C75-A554-8D2029DED5AE}"/>
          </ac:spMkLst>
        </pc:spChg>
        <pc:spChg chg="add mod">
          <ac:chgData name="Daniel Barnes" userId="b303a15ee67145ed" providerId="LiveId" clId="{4A5A1811-DFF2-43F5-A7A7-22A66EF04CEB}" dt="2022-03-22T20:23:16.309" v="16592" actId="1076"/>
          <ac:spMkLst>
            <pc:docMk/>
            <pc:sldMk cId="3980941400" sldId="2145706692"/>
            <ac:spMk id="40" creationId="{2F38EB93-4343-4D23-962B-7E16FEFDB7D0}"/>
          </ac:spMkLst>
        </pc:spChg>
        <pc:spChg chg="add mod">
          <ac:chgData name="Daniel Barnes" userId="b303a15ee67145ed" providerId="LiveId" clId="{4A5A1811-DFF2-43F5-A7A7-22A66EF04CEB}" dt="2022-03-22T20:23:08.765" v="16590" actId="14100"/>
          <ac:spMkLst>
            <pc:docMk/>
            <pc:sldMk cId="3980941400" sldId="2145706692"/>
            <ac:spMk id="41" creationId="{17C6D80A-8CB8-43E7-919A-881ECCFB1F0F}"/>
          </ac:spMkLst>
        </pc:spChg>
        <pc:grpChg chg="add del mod">
          <ac:chgData name="Daniel Barnes" userId="b303a15ee67145ed" providerId="LiveId" clId="{4A5A1811-DFF2-43F5-A7A7-22A66EF04CEB}" dt="2022-03-22T20:08:33.354" v="16185" actId="478"/>
          <ac:grpSpMkLst>
            <pc:docMk/>
            <pc:sldMk cId="3980941400" sldId="2145706692"/>
            <ac:grpSpMk id="10" creationId="{F707D6E7-F397-499E-B92D-BB82FEEA7C61}"/>
          </ac:grpSpMkLst>
        </pc:grpChg>
        <pc:grpChg chg="add del mod">
          <ac:chgData name="Daniel Barnes" userId="b303a15ee67145ed" providerId="LiveId" clId="{4A5A1811-DFF2-43F5-A7A7-22A66EF04CEB}" dt="2022-03-22T20:08:36.096" v="16188" actId="478"/>
          <ac:grpSpMkLst>
            <pc:docMk/>
            <pc:sldMk cId="3980941400" sldId="2145706692"/>
            <ac:grpSpMk id="13" creationId="{55E113D6-50AB-49C7-847A-94BA5C29B685}"/>
          </ac:grpSpMkLst>
        </pc:grpChg>
        <pc:picChg chg="add mod modCrop">
          <ac:chgData name="Daniel Barnes" userId="b303a15ee67145ed" providerId="LiveId" clId="{4A5A1811-DFF2-43F5-A7A7-22A66EF04CEB}" dt="2022-03-22T20:13:49.352" v="16247" actId="1036"/>
          <ac:picMkLst>
            <pc:docMk/>
            <pc:sldMk cId="3980941400" sldId="2145706692"/>
            <ac:picMk id="5" creationId="{72AA3B8A-3CD7-47BB-B21C-38E0FA0819A7}"/>
          </ac:picMkLst>
        </pc:picChg>
        <pc:picChg chg="add del mod">
          <ac:chgData name="Daniel Barnes" userId="b303a15ee67145ed" providerId="LiveId" clId="{4A5A1811-DFF2-43F5-A7A7-22A66EF04CEB}" dt="2022-03-22T20:08:33.354" v="16185" actId="478"/>
          <ac:picMkLst>
            <pc:docMk/>
            <pc:sldMk cId="3980941400" sldId="2145706692"/>
            <ac:picMk id="7" creationId="{4AD459CC-D0E5-4578-919A-3266F67F5D13}"/>
          </ac:picMkLst>
        </pc:picChg>
        <pc:picChg chg="add del mod ord topLvl">
          <ac:chgData name="Daniel Barnes" userId="b303a15ee67145ed" providerId="LiveId" clId="{4A5A1811-DFF2-43F5-A7A7-22A66EF04CEB}" dt="2022-03-22T20:08:36.096" v="16188" actId="478"/>
          <ac:picMkLst>
            <pc:docMk/>
            <pc:sldMk cId="3980941400" sldId="2145706692"/>
            <ac:picMk id="9" creationId="{59AF5970-4B86-45A6-8FB3-3E4E990528EC}"/>
          </ac:picMkLst>
        </pc:picChg>
        <pc:picChg chg="add mod ord topLvl modCrop">
          <ac:chgData name="Daniel Barnes" userId="b303a15ee67145ed" providerId="LiveId" clId="{4A5A1811-DFF2-43F5-A7A7-22A66EF04CEB}" dt="2022-03-22T20:19:32.719" v="16503" actId="1038"/>
          <ac:picMkLst>
            <pc:docMk/>
            <pc:sldMk cId="3980941400" sldId="2145706692"/>
            <ac:picMk id="12" creationId="{AF5D76AB-E091-47AB-A966-C5CD296A8B48}"/>
          </ac:picMkLst>
        </pc:picChg>
        <pc:picChg chg="add mod modCrop">
          <ac:chgData name="Daniel Barnes" userId="b303a15ee67145ed" providerId="LiveId" clId="{4A5A1811-DFF2-43F5-A7A7-22A66EF04CEB}" dt="2022-03-22T20:19:23.694" v="16499" actId="1076"/>
          <ac:picMkLst>
            <pc:docMk/>
            <pc:sldMk cId="3980941400" sldId="2145706692"/>
            <ac:picMk id="14" creationId="{AECC085B-B9D2-4EAC-82D4-CB8F3EE4508D}"/>
          </ac:picMkLst>
        </pc:picChg>
        <pc:picChg chg="add mod">
          <ac:chgData name="Daniel Barnes" userId="b303a15ee67145ed" providerId="LiveId" clId="{4A5A1811-DFF2-43F5-A7A7-22A66EF04CEB}" dt="2022-03-22T20:13:45.120" v="16245" actId="1036"/>
          <ac:picMkLst>
            <pc:docMk/>
            <pc:sldMk cId="3980941400" sldId="2145706692"/>
            <ac:picMk id="16" creationId="{B62D8F57-0A7F-4E3A-9FD1-1C052BAC7AAD}"/>
          </ac:picMkLst>
        </pc:picChg>
        <pc:picChg chg="add mod">
          <ac:chgData name="Daniel Barnes" userId="b303a15ee67145ed" providerId="LiveId" clId="{4A5A1811-DFF2-43F5-A7A7-22A66EF04CEB}" dt="2022-03-22T20:13:45.120" v="16245" actId="1036"/>
          <ac:picMkLst>
            <pc:docMk/>
            <pc:sldMk cId="3980941400" sldId="2145706692"/>
            <ac:picMk id="18" creationId="{E042C343-0EF8-49CE-B308-CDA647A30756}"/>
          </ac:picMkLst>
        </pc:picChg>
        <pc:cxnChg chg="add mod">
          <ac:chgData name="Daniel Barnes" userId="b303a15ee67145ed" providerId="LiveId" clId="{4A5A1811-DFF2-43F5-A7A7-22A66EF04CEB}" dt="2022-03-22T20:23:09.124" v="16591" actId="14100"/>
          <ac:cxnSpMkLst>
            <pc:docMk/>
            <pc:sldMk cId="3980941400" sldId="2145706692"/>
            <ac:cxnSpMk id="19" creationId="{CA010C29-FACA-4FCC-8071-A538F22931E5}"/>
          </ac:cxnSpMkLst>
        </pc:cxnChg>
        <pc:cxnChg chg="add mod">
          <ac:chgData name="Daniel Barnes" userId="b303a15ee67145ed" providerId="LiveId" clId="{4A5A1811-DFF2-43F5-A7A7-22A66EF04CEB}" dt="2022-03-22T20:23:22.753" v="16593" actId="14100"/>
          <ac:cxnSpMkLst>
            <pc:docMk/>
            <pc:sldMk cId="3980941400" sldId="2145706692"/>
            <ac:cxnSpMk id="28" creationId="{846C6886-0DA4-41B4-9089-8CC8574CAC1F}"/>
          </ac:cxnSpMkLst>
        </pc:cxnChg>
        <pc:cxnChg chg="add mod">
          <ac:chgData name="Daniel Barnes" userId="b303a15ee67145ed" providerId="LiveId" clId="{4A5A1811-DFF2-43F5-A7A7-22A66EF04CEB}" dt="2022-03-22T20:23:34.160" v="16594" actId="14100"/>
          <ac:cxnSpMkLst>
            <pc:docMk/>
            <pc:sldMk cId="3980941400" sldId="2145706692"/>
            <ac:cxnSpMk id="33" creationId="{BFFCB056-11ED-4BB9-8976-35C2C46E8C91}"/>
          </ac:cxnSpMkLst>
        </pc:cxnChg>
      </pc:sldChg>
      <pc:sldChg chg="addSp delSp modSp add mod ord">
        <pc:chgData name="Daniel Barnes" userId="b303a15ee67145ed" providerId="LiveId" clId="{4A5A1811-DFF2-43F5-A7A7-22A66EF04CEB}" dt="2022-04-02T21:26:56.392" v="19551"/>
        <pc:sldMkLst>
          <pc:docMk/>
          <pc:sldMk cId="1561312164" sldId="2145706693"/>
        </pc:sldMkLst>
        <pc:spChg chg="mod">
          <ac:chgData name="Daniel Barnes" userId="b303a15ee67145ed" providerId="LiveId" clId="{4A5A1811-DFF2-43F5-A7A7-22A66EF04CEB}" dt="2022-03-22T20:31:56.473" v="16669" actId="20577"/>
          <ac:spMkLst>
            <pc:docMk/>
            <pc:sldMk cId="1561312164" sldId="2145706693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2T20:56:02.390" v="17491" actId="1035"/>
          <ac:spMkLst>
            <pc:docMk/>
            <pc:sldMk cId="1561312164" sldId="2145706693"/>
            <ac:spMk id="3" creationId="{E6EB4016-53BF-47E2-8C18-4CAA9DE4C1F2}"/>
          </ac:spMkLst>
        </pc:spChg>
        <pc:spChg chg="add del mod">
          <ac:chgData name="Daniel Barnes" userId="b303a15ee67145ed" providerId="LiveId" clId="{4A5A1811-DFF2-43F5-A7A7-22A66EF04CEB}" dt="2022-03-22T20:50:25.593" v="17229" actId="478"/>
          <ac:spMkLst>
            <pc:docMk/>
            <pc:sldMk cId="1561312164" sldId="2145706693"/>
            <ac:spMk id="11" creationId="{6FEA70DD-A8AC-4B4C-9631-5A417F0F42A1}"/>
          </ac:spMkLst>
        </pc:spChg>
        <pc:spChg chg="add mod">
          <ac:chgData name="Daniel Barnes" userId="b303a15ee67145ed" providerId="LiveId" clId="{4A5A1811-DFF2-43F5-A7A7-22A66EF04CEB}" dt="2022-03-22T20:54:47.068" v="17465" actId="1076"/>
          <ac:spMkLst>
            <pc:docMk/>
            <pc:sldMk cId="1561312164" sldId="2145706693"/>
            <ac:spMk id="13" creationId="{30ABECE6-E742-4972-B0B5-12B361F46DE6}"/>
          </ac:spMkLst>
        </pc:spChg>
        <pc:picChg chg="add mod">
          <ac:chgData name="Daniel Barnes" userId="b303a15ee67145ed" providerId="LiveId" clId="{4A5A1811-DFF2-43F5-A7A7-22A66EF04CEB}" dt="2022-03-22T20:51:14.448" v="17242" actId="1076"/>
          <ac:picMkLst>
            <pc:docMk/>
            <pc:sldMk cId="1561312164" sldId="2145706693"/>
            <ac:picMk id="5" creationId="{6FAA4731-007A-47A7-94F7-484E3894C601}"/>
          </ac:picMkLst>
        </pc:picChg>
        <pc:picChg chg="add mod">
          <ac:chgData name="Daniel Barnes" userId="b303a15ee67145ed" providerId="LiveId" clId="{4A5A1811-DFF2-43F5-A7A7-22A66EF04CEB}" dt="2022-03-22T20:46:19.787" v="17047" actId="1076"/>
          <ac:picMkLst>
            <pc:docMk/>
            <pc:sldMk cId="1561312164" sldId="2145706693"/>
            <ac:picMk id="7" creationId="{9ED85067-8CA6-4F75-9A4E-74946631A5FB}"/>
          </ac:picMkLst>
        </pc:picChg>
        <pc:picChg chg="add mod">
          <ac:chgData name="Daniel Barnes" userId="b303a15ee67145ed" providerId="LiveId" clId="{4A5A1811-DFF2-43F5-A7A7-22A66EF04CEB}" dt="2022-03-22T20:53:54.260" v="17377" actId="1076"/>
          <ac:picMkLst>
            <pc:docMk/>
            <pc:sldMk cId="1561312164" sldId="2145706693"/>
            <ac:picMk id="9" creationId="{A04E53BE-7195-40F2-8D36-E84661056391}"/>
          </ac:picMkLst>
        </pc:picChg>
      </pc:sldChg>
      <pc:sldChg chg="modSp add mod ord">
        <pc:chgData name="Daniel Barnes" userId="b303a15ee67145ed" providerId="LiveId" clId="{4A5A1811-DFF2-43F5-A7A7-22A66EF04CEB}" dt="2022-04-02T21:26:56.392" v="19551"/>
        <pc:sldMkLst>
          <pc:docMk/>
          <pc:sldMk cId="3369312588" sldId="2145706694"/>
        </pc:sldMkLst>
        <pc:spChg chg="mod">
          <ac:chgData name="Daniel Barnes" userId="b303a15ee67145ed" providerId="LiveId" clId="{4A5A1811-DFF2-43F5-A7A7-22A66EF04CEB}" dt="2022-03-13T22:53:30.198" v="4384" actId="20577"/>
          <ac:spMkLst>
            <pc:docMk/>
            <pc:sldMk cId="3369312588" sldId="2145706694"/>
            <ac:spMk id="2" creationId="{0107FA66-646B-42C0-A453-9C2949F7188C}"/>
          </ac:spMkLst>
        </pc:spChg>
      </pc:sldChg>
      <pc:sldChg chg="addSp delSp modSp add mod ord">
        <pc:chgData name="Daniel Barnes" userId="b303a15ee67145ed" providerId="LiveId" clId="{4A5A1811-DFF2-43F5-A7A7-22A66EF04CEB}" dt="2022-04-02T21:26:56.392" v="19551"/>
        <pc:sldMkLst>
          <pc:docMk/>
          <pc:sldMk cId="2897864367" sldId="2145706695"/>
        </pc:sldMkLst>
        <pc:spChg chg="mod">
          <ac:chgData name="Daniel Barnes" userId="b303a15ee67145ed" providerId="LiveId" clId="{4A5A1811-DFF2-43F5-A7A7-22A66EF04CEB}" dt="2022-04-02T20:26:21.130" v="18378"/>
          <ac:spMkLst>
            <pc:docMk/>
            <pc:sldMk cId="2897864367" sldId="2145706695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2T20:30:28.271" v="18658" actId="20577"/>
          <ac:spMkLst>
            <pc:docMk/>
            <pc:sldMk cId="2897864367" sldId="2145706695"/>
            <ac:spMk id="3" creationId="{E6EB4016-53BF-47E2-8C18-4CAA9DE4C1F2}"/>
          </ac:spMkLst>
        </pc:spChg>
        <pc:picChg chg="add del mod">
          <ac:chgData name="Daniel Barnes" userId="b303a15ee67145ed" providerId="LiveId" clId="{4A5A1811-DFF2-43F5-A7A7-22A66EF04CEB}" dt="2022-04-02T19:57:36.858" v="17495" actId="478"/>
          <ac:picMkLst>
            <pc:docMk/>
            <pc:sldMk cId="2897864367" sldId="2145706695"/>
            <ac:picMk id="5" creationId="{569709A9-566C-49A0-A24E-10C00F3188D7}"/>
          </ac:picMkLst>
        </pc:picChg>
        <pc:picChg chg="add del mod">
          <ac:chgData name="Daniel Barnes" userId="b303a15ee67145ed" providerId="LiveId" clId="{4A5A1811-DFF2-43F5-A7A7-22A66EF04CEB}" dt="2022-04-02T19:58:01.416" v="17500" actId="478"/>
          <ac:picMkLst>
            <pc:docMk/>
            <pc:sldMk cId="2897864367" sldId="2145706695"/>
            <ac:picMk id="7" creationId="{5BCA7950-5FDD-4D37-B9E6-E472AD472AF1}"/>
          </ac:picMkLst>
        </pc:picChg>
        <pc:picChg chg="add mod ord">
          <ac:chgData name="Daniel Barnes" userId="b303a15ee67145ed" providerId="LiveId" clId="{4A5A1811-DFF2-43F5-A7A7-22A66EF04CEB}" dt="2022-04-02T20:25:58.449" v="18376" actId="14100"/>
          <ac:picMkLst>
            <pc:docMk/>
            <pc:sldMk cId="2897864367" sldId="2145706695"/>
            <ac:picMk id="9" creationId="{7A0F202F-B05D-4A96-A811-E17C7C676D8D}"/>
          </ac:picMkLst>
        </pc:picChg>
        <pc:picChg chg="add del mod">
          <ac:chgData name="Daniel Barnes" userId="b303a15ee67145ed" providerId="LiveId" clId="{4A5A1811-DFF2-43F5-A7A7-22A66EF04CEB}" dt="2022-04-02T20:25:37.025" v="18371" actId="478"/>
          <ac:picMkLst>
            <pc:docMk/>
            <pc:sldMk cId="2897864367" sldId="2145706695"/>
            <ac:picMk id="10" creationId="{AC8AE7F9-DED3-4458-9981-05C8A1F1283A}"/>
          </ac:picMkLst>
        </pc:picChg>
      </pc:sldChg>
      <pc:sldChg chg="addSp delSp modSp add mod ord setBg">
        <pc:chgData name="Daniel Barnes" userId="b303a15ee67145ed" providerId="LiveId" clId="{4A5A1811-DFF2-43F5-A7A7-22A66EF04CEB}" dt="2022-04-02T21:26:56.392" v="19551"/>
        <pc:sldMkLst>
          <pc:docMk/>
          <pc:sldMk cId="3317072384" sldId="2145706696"/>
        </pc:sldMkLst>
        <pc:spChg chg="mod">
          <ac:chgData name="Daniel Barnes" userId="b303a15ee67145ed" providerId="LiveId" clId="{4A5A1811-DFF2-43F5-A7A7-22A66EF04CEB}" dt="2022-04-02T20:24:07.672" v="18360" actId="20577"/>
          <ac:spMkLst>
            <pc:docMk/>
            <pc:sldMk cId="3317072384" sldId="2145706696"/>
            <ac:spMk id="2" creationId="{0107FA66-646B-42C0-A453-9C2949F7188C}"/>
          </ac:spMkLst>
        </pc:spChg>
        <pc:spChg chg="del mod">
          <ac:chgData name="Daniel Barnes" userId="b303a15ee67145ed" providerId="LiveId" clId="{4A5A1811-DFF2-43F5-A7A7-22A66EF04CEB}" dt="2022-04-02T20:28:11.681" v="18546" actId="478"/>
          <ac:spMkLst>
            <pc:docMk/>
            <pc:sldMk cId="3317072384" sldId="2145706696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4-02T20:23:48.330" v="18355" actId="20577"/>
          <ac:spMkLst>
            <pc:docMk/>
            <pc:sldMk cId="3317072384" sldId="2145706696"/>
            <ac:spMk id="6" creationId="{6B143B56-FB78-4699-ABB1-4666430E505E}"/>
          </ac:spMkLst>
        </pc:spChg>
        <pc:spChg chg="add del mod">
          <ac:chgData name="Daniel Barnes" userId="b303a15ee67145ed" providerId="LiveId" clId="{4A5A1811-DFF2-43F5-A7A7-22A66EF04CEB}" dt="2022-04-02T20:28:14.618" v="18548" actId="478"/>
          <ac:spMkLst>
            <pc:docMk/>
            <pc:sldMk cId="3317072384" sldId="2145706696"/>
            <ac:spMk id="8" creationId="{901F8BA1-1397-4DDD-8EC9-9EA5B8FE515C}"/>
          </ac:spMkLst>
        </pc:spChg>
        <pc:spChg chg="add mod">
          <ac:chgData name="Daniel Barnes" userId="b303a15ee67145ed" providerId="LiveId" clId="{4A5A1811-DFF2-43F5-A7A7-22A66EF04CEB}" dt="2022-04-02T20:30:30.976" v="18660" actId="20577"/>
          <ac:spMkLst>
            <pc:docMk/>
            <pc:sldMk cId="3317072384" sldId="2145706696"/>
            <ac:spMk id="9" creationId="{49AF9B85-3EFD-4AFE-94A4-8829DDD539C9}"/>
          </ac:spMkLst>
        </pc:spChg>
        <pc:picChg chg="add mod">
          <ac:chgData name="Daniel Barnes" userId="b303a15ee67145ed" providerId="LiveId" clId="{4A5A1811-DFF2-43F5-A7A7-22A66EF04CEB}" dt="2022-04-02T20:24:36.705" v="18363" actId="108"/>
          <ac:picMkLst>
            <pc:docMk/>
            <pc:sldMk cId="3317072384" sldId="2145706696"/>
            <ac:picMk id="5" creationId="{A30FB0D1-5109-4692-9BF6-206A16AE9F29}"/>
          </ac:picMkLst>
        </pc:picChg>
      </pc:sldChg>
      <pc:sldChg chg="addSp delSp modSp add mod ord">
        <pc:chgData name="Daniel Barnes" userId="b303a15ee67145ed" providerId="LiveId" clId="{4A5A1811-DFF2-43F5-A7A7-22A66EF04CEB}" dt="2022-04-02T21:26:56.392" v="19551"/>
        <pc:sldMkLst>
          <pc:docMk/>
          <pc:sldMk cId="3111992389" sldId="2145706697"/>
        </pc:sldMkLst>
        <pc:spChg chg="mod">
          <ac:chgData name="Daniel Barnes" userId="b303a15ee67145ed" providerId="LiveId" clId="{4A5A1811-DFF2-43F5-A7A7-22A66EF04CEB}" dt="2022-04-02T20:12:44.105" v="17687" actId="6549"/>
          <ac:spMkLst>
            <pc:docMk/>
            <pc:sldMk cId="3111992389" sldId="2145706697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2T20:21:20.661" v="18270" actId="20577"/>
          <ac:spMkLst>
            <pc:docMk/>
            <pc:sldMk cId="3111992389" sldId="2145706697"/>
            <ac:spMk id="3" creationId="{E6EB4016-53BF-47E2-8C18-4CAA9DE4C1F2}"/>
          </ac:spMkLst>
        </pc:spChg>
        <pc:spChg chg="add mod topLvl">
          <ac:chgData name="Daniel Barnes" userId="b303a15ee67145ed" providerId="LiveId" clId="{4A5A1811-DFF2-43F5-A7A7-22A66EF04CEB}" dt="2022-04-02T20:19:45.504" v="18262" actId="1038"/>
          <ac:spMkLst>
            <pc:docMk/>
            <pc:sldMk cId="3111992389" sldId="2145706697"/>
            <ac:spMk id="14" creationId="{BF897C79-8842-4030-B024-07ED06BBDBE1}"/>
          </ac:spMkLst>
        </pc:spChg>
        <pc:spChg chg="add mod topLvl">
          <ac:chgData name="Daniel Barnes" userId="b303a15ee67145ed" providerId="LiveId" clId="{4A5A1811-DFF2-43F5-A7A7-22A66EF04CEB}" dt="2022-04-02T20:19:39.473" v="18259" actId="1038"/>
          <ac:spMkLst>
            <pc:docMk/>
            <pc:sldMk cId="3111992389" sldId="2145706697"/>
            <ac:spMk id="15" creationId="{46586139-AE5C-472D-A07E-F0EAE9BE67BE}"/>
          </ac:spMkLst>
        </pc:spChg>
        <pc:spChg chg="add mod">
          <ac:chgData name="Daniel Barnes" userId="b303a15ee67145ed" providerId="LiveId" clId="{4A5A1811-DFF2-43F5-A7A7-22A66EF04CEB}" dt="2022-04-02T20:10:29.383" v="17609" actId="1076"/>
          <ac:spMkLst>
            <pc:docMk/>
            <pc:sldMk cId="3111992389" sldId="2145706697"/>
            <ac:spMk id="16" creationId="{F692F50B-038A-41B2-86BA-90EAF2CD9EEA}"/>
          </ac:spMkLst>
        </pc:spChg>
        <pc:spChg chg="add del mod">
          <ac:chgData name="Daniel Barnes" userId="b303a15ee67145ed" providerId="LiveId" clId="{4A5A1811-DFF2-43F5-A7A7-22A66EF04CEB}" dt="2022-04-02T20:10:40.055" v="17612" actId="1076"/>
          <ac:spMkLst>
            <pc:docMk/>
            <pc:sldMk cId="3111992389" sldId="2145706697"/>
            <ac:spMk id="17" creationId="{BD3B9AA0-D0D2-43E3-86A3-76CEFB47747A}"/>
          </ac:spMkLst>
        </pc:spChg>
        <pc:spChg chg="add mod">
          <ac:chgData name="Daniel Barnes" userId="b303a15ee67145ed" providerId="LiveId" clId="{4A5A1811-DFF2-43F5-A7A7-22A66EF04CEB}" dt="2022-04-02T20:19:45.504" v="18262" actId="1038"/>
          <ac:spMkLst>
            <pc:docMk/>
            <pc:sldMk cId="3111992389" sldId="2145706697"/>
            <ac:spMk id="23" creationId="{17FC7FF4-3442-4BB5-BF1C-9D892092DB5A}"/>
          </ac:spMkLst>
        </pc:spChg>
        <pc:spChg chg="add mod">
          <ac:chgData name="Daniel Barnes" userId="b303a15ee67145ed" providerId="LiveId" clId="{4A5A1811-DFF2-43F5-A7A7-22A66EF04CEB}" dt="2022-04-02T20:19:55.391" v="18265" actId="1037"/>
          <ac:spMkLst>
            <pc:docMk/>
            <pc:sldMk cId="3111992389" sldId="2145706697"/>
            <ac:spMk id="24" creationId="{5439B27C-493F-44E9-A644-15B842A0F7A6}"/>
          </ac:spMkLst>
        </pc:spChg>
        <pc:spChg chg="add mod">
          <ac:chgData name="Daniel Barnes" userId="b303a15ee67145ed" providerId="LiveId" clId="{4A5A1811-DFF2-43F5-A7A7-22A66EF04CEB}" dt="2022-04-02T20:23:43.687" v="18353" actId="20577"/>
          <ac:spMkLst>
            <pc:docMk/>
            <pc:sldMk cId="3111992389" sldId="2145706697"/>
            <ac:spMk id="25" creationId="{4E4FEF0D-9D63-4C02-B634-5BD8355AA49F}"/>
          </ac:spMkLst>
        </pc:spChg>
        <pc:grpChg chg="add del mod">
          <ac:chgData name="Daniel Barnes" userId="b303a15ee67145ed" providerId="LiveId" clId="{4A5A1811-DFF2-43F5-A7A7-22A66EF04CEB}" dt="2022-04-02T20:19:28.541" v="18250" actId="165"/>
          <ac:grpSpMkLst>
            <pc:docMk/>
            <pc:sldMk cId="3111992389" sldId="2145706697"/>
            <ac:grpSpMk id="18" creationId="{5349792C-8A23-4754-8A59-8D40524067CD}"/>
          </ac:grpSpMkLst>
        </pc:grpChg>
        <pc:picChg chg="add mod topLvl">
          <ac:chgData name="Daniel Barnes" userId="b303a15ee67145ed" providerId="LiveId" clId="{4A5A1811-DFF2-43F5-A7A7-22A66EF04CEB}" dt="2022-04-02T20:20:43.663" v="18267" actId="14100"/>
          <ac:picMkLst>
            <pc:docMk/>
            <pc:sldMk cId="3111992389" sldId="2145706697"/>
            <ac:picMk id="5" creationId="{AE02CF46-87EC-400B-B74C-E977A6801D2A}"/>
          </ac:picMkLst>
        </pc:picChg>
        <pc:picChg chg="add del mod">
          <ac:chgData name="Daniel Barnes" userId="b303a15ee67145ed" providerId="LiveId" clId="{4A5A1811-DFF2-43F5-A7A7-22A66EF04CEB}" dt="2022-04-02T20:09:55.737" v="17601" actId="478"/>
          <ac:picMkLst>
            <pc:docMk/>
            <pc:sldMk cId="3111992389" sldId="2145706697"/>
            <ac:picMk id="7" creationId="{5AA3EF26-1656-4422-9783-32F94F5B429D}"/>
          </ac:picMkLst>
        </pc:picChg>
        <pc:picChg chg="add del mod">
          <ac:chgData name="Daniel Barnes" userId="b303a15ee67145ed" providerId="LiveId" clId="{4A5A1811-DFF2-43F5-A7A7-22A66EF04CEB}" dt="2022-04-02T20:09:56.548" v="17602" actId="478"/>
          <ac:picMkLst>
            <pc:docMk/>
            <pc:sldMk cId="3111992389" sldId="2145706697"/>
            <ac:picMk id="9" creationId="{21DBC408-0CDD-418D-BE65-08F34CAF980F}"/>
          </ac:picMkLst>
        </pc:picChg>
        <pc:picChg chg="add mod ord modCrop">
          <ac:chgData name="Daniel Barnes" userId="b303a15ee67145ed" providerId="LiveId" clId="{4A5A1811-DFF2-43F5-A7A7-22A66EF04CEB}" dt="2022-04-02T20:20:50.482" v="18269" actId="108"/>
          <ac:picMkLst>
            <pc:docMk/>
            <pc:sldMk cId="3111992389" sldId="2145706697"/>
            <ac:picMk id="20" creationId="{0705F7CE-B552-4534-9640-58C6EBC2068A}"/>
          </ac:picMkLst>
        </pc:picChg>
        <pc:picChg chg="add mod ord modCrop">
          <ac:chgData name="Daniel Barnes" userId="b303a15ee67145ed" providerId="LiveId" clId="{4A5A1811-DFF2-43F5-A7A7-22A66EF04CEB}" dt="2022-04-02T20:20:48.513" v="18268" actId="108"/>
          <ac:picMkLst>
            <pc:docMk/>
            <pc:sldMk cId="3111992389" sldId="2145706697"/>
            <ac:picMk id="22" creationId="{AFE237DE-5068-439B-92F2-BC59C3C50818}"/>
          </ac:picMkLst>
        </pc:picChg>
        <pc:picChg chg="add del mod">
          <ac:chgData name="Daniel Barnes" userId="b303a15ee67145ed" providerId="LiveId" clId="{4A5A1811-DFF2-43F5-A7A7-22A66EF04CEB}" dt="2022-04-02T20:46:59.223" v="18676" actId="21"/>
          <ac:picMkLst>
            <pc:docMk/>
            <pc:sldMk cId="3111992389" sldId="2145706697"/>
            <ac:picMk id="26" creationId="{C198FA00-E6A9-458F-9E55-5EE8F85D07A5}"/>
          </ac:picMkLst>
        </pc:picChg>
        <pc:picChg chg="add del mod">
          <ac:chgData name="Daniel Barnes" userId="b303a15ee67145ed" providerId="LiveId" clId="{4A5A1811-DFF2-43F5-A7A7-22A66EF04CEB}" dt="2022-04-02T20:46:59.223" v="18676" actId="21"/>
          <ac:picMkLst>
            <pc:docMk/>
            <pc:sldMk cId="3111992389" sldId="2145706697"/>
            <ac:picMk id="27" creationId="{9542DF74-9295-4F8C-8B9F-F4B74574AF28}"/>
          </ac:picMkLst>
        </pc:picChg>
        <pc:cxnChg chg="add mod topLvl">
          <ac:chgData name="Daniel Barnes" userId="b303a15ee67145ed" providerId="LiveId" clId="{4A5A1811-DFF2-43F5-A7A7-22A66EF04CEB}" dt="2022-04-02T20:19:28.541" v="18250" actId="165"/>
          <ac:cxnSpMkLst>
            <pc:docMk/>
            <pc:sldMk cId="3111992389" sldId="2145706697"/>
            <ac:cxnSpMk id="11" creationId="{75848518-4DB7-4DAD-B600-4D01734CCAF1}"/>
          </ac:cxnSpMkLst>
        </pc:cxnChg>
      </pc:sldChg>
      <pc:sldChg chg="modSp add mod ord">
        <pc:chgData name="Daniel Barnes" userId="b303a15ee67145ed" providerId="LiveId" clId="{4A5A1811-DFF2-43F5-A7A7-22A66EF04CEB}" dt="2022-04-02T21:26:56.392" v="19551"/>
        <pc:sldMkLst>
          <pc:docMk/>
          <pc:sldMk cId="2338651362" sldId="2145706698"/>
        </pc:sldMkLst>
        <pc:spChg chg="mod">
          <ac:chgData name="Daniel Barnes" userId="b303a15ee67145ed" providerId="LiveId" clId="{4A5A1811-DFF2-43F5-A7A7-22A66EF04CEB}" dt="2022-03-13T22:53:43.394" v="4429" actId="20577"/>
          <ac:spMkLst>
            <pc:docMk/>
            <pc:sldMk cId="2338651362" sldId="2145706698"/>
            <ac:spMk id="2" creationId="{0107FA66-646B-42C0-A453-9C2949F7188C}"/>
          </ac:spMkLst>
        </pc:spChg>
      </pc:sldChg>
      <pc:sldChg chg="addSp delSp modSp add mod ord">
        <pc:chgData name="Daniel Barnes" userId="b303a15ee67145ed" providerId="LiveId" clId="{4A5A1811-DFF2-43F5-A7A7-22A66EF04CEB}" dt="2022-04-03T12:50:25.085" v="22211" actId="108"/>
        <pc:sldMkLst>
          <pc:docMk/>
          <pc:sldMk cId="1558719600" sldId="2145706699"/>
        </pc:sldMkLst>
        <pc:spChg chg="mod">
          <ac:chgData name="Daniel Barnes" userId="b303a15ee67145ed" providerId="LiveId" clId="{4A5A1811-DFF2-43F5-A7A7-22A66EF04CEB}" dt="2022-03-13T22:57:52.947" v="4511" actId="20577"/>
          <ac:spMkLst>
            <pc:docMk/>
            <pc:sldMk cId="1558719600" sldId="2145706699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3T12:00:11.528" v="21372" actId="20577"/>
          <ac:spMkLst>
            <pc:docMk/>
            <pc:sldMk cId="1558719600" sldId="2145706699"/>
            <ac:spMk id="3" creationId="{E6EB4016-53BF-47E2-8C18-4CAA9DE4C1F2}"/>
          </ac:spMkLst>
        </pc:spChg>
        <pc:picChg chg="add del mod">
          <ac:chgData name="Daniel Barnes" userId="b303a15ee67145ed" providerId="LiveId" clId="{4A5A1811-DFF2-43F5-A7A7-22A66EF04CEB}" dt="2022-04-03T11:53:17.487" v="21117" actId="478"/>
          <ac:picMkLst>
            <pc:docMk/>
            <pc:sldMk cId="1558719600" sldId="2145706699"/>
            <ac:picMk id="5" creationId="{D449BC2A-1F5A-46AC-A09C-461BB6129501}"/>
          </ac:picMkLst>
        </pc:picChg>
        <pc:picChg chg="add del mod">
          <ac:chgData name="Daniel Barnes" userId="b303a15ee67145ed" providerId="LiveId" clId="{4A5A1811-DFF2-43F5-A7A7-22A66EF04CEB}" dt="2022-04-03T11:52:15.136" v="21111" actId="478"/>
          <ac:picMkLst>
            <pc:docMk/>
            <pc:sldMk cId="1558719600" sldId="2145706699"/>
            <ac:picMk id="7" creationId="{70ECA8FF-45A6-49B7-8DE6-6463BF84AC61}"/>
          </ac:picMkLst>
        </pc:picChg>
        <pc:picChg chg="add del mod">
          <ac:chgData name="Daniel Barnes" userId="b303a15ee67145ed" providerId="LiveId" clId="{4A5A1811-DFF2-43F5-A7A7-22A66EF04CEB}" dt="2022-04-03T11:51:59.752" v="21107" actId="478"/>
          <ac:picMkLst>
            <pc:docMk/>
            <pc:sldMk cId="1558719600" sldId="2145706699"/>
            <ac:picMk id="9" creationId="{A52F289F-052E-44FA-808D-28373B105A4D}"/>
          </ac:picMkLst>
        </pc:picChg>
        <pc:picChg chg="add mod">
          <ac:chgData name="Daniel Barnes" userId="b303a15ee67145ed" providerId="LiveId" clId="{4A5A1811-DFF2-43F5-A7A7-22A66EF04CEB}" dt="2022-04-03T12:50:25.085" v="22211" actId="108"/>
          <ac:picMkLst>
            <pc:docMk/>
            <pc:sldMk cId="1558719600" sldId="2145706699"/>
            <ac:picMk id="11" creationId="{49D02367-7FCC-49B8-B6BB-E790CF50A9AE}"/>
          </ac:picMkLst>
        </pc:picChg>
        <pc:picChg chg="add mod">
          <ac:chgData name="Daniel Barnes" userId="b303a15ee67145ed" providerId="LiveId" clId="{4A5A1811-DFF2-43F5-A7A7-22A66EF04CEB}" dt="2022-04-03T12:00:39.439" v="21378" actId="14100"/>
          <ac:picMkLst>
            <pc:docMk/>
            <pc:sldMk cId="1558719600" sldId="2145706699"/>
            <ac:picMk id="13" creationId="{362C84B8-9330-40BA-81B8-2112EABB7F3E}"/>
          </ac:picMkLst>
        </pc:picChg>
        <pc:picChg chg="add mod">
          <ac:chgData name="Daniel Barnes" userId="b303a15ee67145ed" providerId="LiveId" clId="{4A5A1811-DFF2-43F5-A7A7-22A66EF04CEB}" dt="2022-04-03T12:00:39.439" v="21378" actId="14100"/>
          <ac:picMkLst>
            <pc:docMk/>
            <pc:sldMk cId="1558719600" sldId="2145706699"/>
            <ac:picMk id="15" creationId="{95696640-61FB-433D-8A2E-2CA09715389D}"/>
          </ac:picMkLst>
        </pc:picChg>
      </pc:sldChg>
      <pc:sldChg chg="addSp delSp modSp add mod ord">
        <pc:chgData name="Daniel Barnes" userId="b303a15ee67145ed" providerId="LiveId" clId="{4A5A1811-DFF2-43F5-A7A7-22A66EF04CEB}" dt="2022-04-03T12:05:33.450" v="21987" actId="20577"/>
        <pc:sldMkLst>
          <pc:docMk/>
          <pc:sldMk cId="4011433294" sldId="2145706700"/>
        </pc:sldMkLst>
        <pc:spChg chg="mod">
          <ac:chgData name="Daniel Barnes" userId="b303a15ee67145ed" providerId="LiveId" clId="{4A5A1811-DFF2-43F5-A7A7-22A66EF04CEB}" dt="2022-03-13T22:58:04" v="4514"/>
          <ac:spMkLst>
            <pc:docMk/>
            <pc:sldMk cId="4011433294" sldId="2145706700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3T12:05:33.450" v="21987" actId="20577"/>
          <ac:spMkLst>
            <pc:docMk/>
            <pc:sldMk cId="4011433294" sldId="2145706700"/>
            <ac:spMk id="3" creationId="{E6EB4016-53BF-47E2-8C18-4CAA9DE4C1F2}"/>
          </ac:spMkLst>
        </pc:spChg>
        <pc:picChg chg="add del mod">
          <ac:chgData name="Daniel Barnes" userId="b303a15ee67145ed" providerId="LiveId" clId="{4A5A1811-DFF2-43F5-A7A7-22A66EF04CEB}" dt="2022-04-03T11:36:57.303" v="21082" actId="478"/>
          <ac:picMkLst>
            <pc:docMk/>
            <pc:sldMk cId="4011433294" sldId="2145706700"/>
            <ac:picMk id="5" creationId="{900DCBEE-8D9C-462D-B313-1305906D59CA}"/>
          </ac:picMkLst>
        </pc:picChg>
        <pc:picChg chg="add del mod">
          <ac:chgData name="Daniel Barnes" userId="b303a15ee67145ed" providerId="LiveId" clId="{4A5A1811-DFF2-43F5-A7A7-22A66EF04CEB}" dt="2022-04-03T11:53:59.327" v="21125" actId="478"/>
          <ac:picMkLst>
            <pc:docMk/>
            <pc:sldMk cId="4011433294" sldId="2145706700"/>
            <ac:picMk id="7" creationId="{95EF5640-C15E-4773-B8AA-072EE469E2F5}"/>
          </ac:picMkLst>
        </pc:picChg>
        <pc:picChg chg="add del mod">
          <ac:chgData name="Daniel Barnes" userId="b303a15ee67145ed" providerId="LiveId" clId="{4A5A1811-DFF2-43F5-A7A7-22A66EF04CEB}" dt="2022-04-03T11:53:59.704" v="21126" actId="478"/>
          <ac:picMkLst>
            <pc:docMk/>
            <pc:sldMk cId="4011433294" sldId="2145706700"/>
            <ac:picMk id="9" creationId="{3158F67F-F9BB-43A8-A0B1-4DEED375A126}"/>
          </ac:picMkLst>
        </pc:picChg>
        <pc:picChg chg="add mod">
          <ac:chgData name="Daniel Barnes" userId="b303a15ee67145ed" providerId="LiveId" clId="{4A5A1811-DFF2-43F5-A7A7-22A66EF04CEB}" dt="2022-04-03T12:02:51.595" v="21741" actId="14100"/>
          <ac:picMkLst>
            <pc:docMk/>
            <pc:sldMk cId="4011433294" sldId="2145706700"/>
            <ac:picMk id="11" creationId="{38452BA8-55EA-471E-B267-F26925DD09CB}"/>
          </ac:picMkLst>
        </pc:picChg>
      </pc:sldChg>
      <pc:sldChg chg="addSp modSp add mod">
        <pc:chgData name="Daniel Barnes" userId="b303a15ee67145ed" providerId="LiveId" clId="{4A5A1811-DFF2-43F5-A7A7-22A66EF04CEB}" dt="2022-04-03T12:41:21.649" v="22108" actId="465"/>
        <pc:sldMkLst>
          <pc:docMk/>
          <pc:sldMk cId="3998632226" sldId="2145706701"/>
        </pc:sldMkLst>
        <pc:spChg chg="mod">
          <ac:chgData name="Daniel Barnes" userId="b303a15ee67145ed" providerId="LiveId" clId="{4A5A1811-DFF2-43F5-A7A7-22A66EF04CEB}" dt="2022-03-13T22:58:32.331" v="4546" actId="20577"/>
          <ac:spMkLst>
            <pc:docMk/>
            <pc:sldMk cId="3998632226" sldId="2145706701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3T12:40:36.512" v="22098" actId="14100"/>
          <ac:spMkLst>
            <pc:docMk/>
            <pc:sldMk cId="3998632226" sldId="2145706701"/>
            <ac:spMk id="3" creationId="{E6EB4016-53BF-47E2-8C18-4CAA9DE4C1F2}"/>
          </ac:spMkLst>
        </pc:spChg>
        <pc:grpChg chg="add mod">
          <ac:chgData name="Daniel Barnes" userId="b303a15ee67145ed" providerId="LiveId" clId="{4A5A1811-DFF2-43F5-A7A7-22A66EF04CEB}" dt="2022-04-03T12:41:19.354" v="22107" actId="12788"/>
          <ac:grpSpMkLst>
            <pc:docMk/>
            <pc:sldMk cId="3998632226" sldId="2145706701"/>
            <ac:grpSpMk id="10" creationId="{A279BAC3-BC82-4D04-A7E0-21C8A58695A6}"/>
          </ac:grpSpMkLst>
        </pc:grpChg>
        <pc:grpChg chg="add mod">
          <ac:chgData name="Daniel Barnes" userId="b303a15ee67145ed" providerId="LiveId" clId="{4A5A1811-DFF2-43F5-A7A7-22A66EF04CEB}" dt="2022-04-03T12:41:21.649" v="22108" actId="465"/>
          <ac:grpSpMkLst>
            <pc:docMk/>
            <pc:sldMk cId="3998632226" sldId="2145706701"/>
            <ac:grpSpMk id="11" creationId="{A564E096-29E5-4B66-AD8E-B2B2785A3592}"/>
          </ac:grpSpMkLst>
        </pc:grpChg>
        <pc:picChg chg="add mod">
          <ac:chgData name="Daniel Barnes" userId="b303a15ee67145ed" providerId="LiveId" clId="{4A5A1811-DFF2-43F5-A7A7-22A66EF04CEB}" dt="2022-04-03T12:41:19.354" v="22107" actId="12788"/>
          <ac:picMkLst>
            <pc:docMk/>
            <pc:sldMk cId="3998632226" sldId="2145706701"/>
            <ac:picMk id="4" creationId="{87AB9C7E-9F36-442F-B2CA-867B86B957A2}"/>
          </ac:picMkLst>
        </pc:picChg>
        <pc:picChg chg="add mod">
          <ac:chgData name="Daniel Barnes" userId="b303a15ee67145ed" providerId="LiveId" clId="{4A5A1811-DFF2-43F5-A7A7-22A66EF04CEB}" dt="2022-04-03T12:41:11.866" v="22106" actId="164"/>
          <ac:picMkLst>
            <pc:docMk/>
            <pc:sldMk cId="3998632226" sldId="2145706701"/>
            <ac:picMk id="5" creationId="{255572AB-0488-4295-9F76-6644A5353379}"/>
          </ac:picMkLst>
        </pc:picChg>
        <pc:picChg chg="add mod">
          <ac:chgData name="Daniel Barnes" userId="b303a15ee67145ed" providerId="LiveId" clId="{4A5A1811-DFF2-43F5-A7A7-22A66EF04CEB}" dt="2022-04-03T12:41:10.556" v="22105" actId="164"/>
          <ac:picMkLst>
            <pc:docMk/>
            <pc:sldMk cId="3998632226" sldId="2145706701"/>
            <ac:picMk id="6" creationId="{85E3C5A5-C061-4F25-A747-A2583DD8CD7F}"/>
          </ac:picMkLst>
        </pc:picChg>
        <pc:picChg chg="add mod">
          <ac:chgData name="Daniel Barnes" userId="b303a15ee67145ed" providerId="LiveId" clId="{4A5A1811-DFF2-43F5-A7A7-22A66EF04CEB}" dt="2022-04-03T12:41:11.866" v="22106" actId="164"/>
          <ac:picMkLst>
            <pc:docMk/>
            <pc:sldMk cId="3998632226" sldId="2145706701"/>
            <ac:picMk id="7" creationId="{A183B84E-793F-46C7-B885-28AB2EE58DC7}"/>
          </ac:picMkLst>
        </pc:picChg>
        <pc:picChg chg="add mod">
          <ac:chgData name="Daniel Barnes" userId="b303a15ee67145ed" providerId="LiveId" clId="{4A5A1811-DFF2-43F5-A7A7-22A66EF04CEB}" dt="2022-04-03T12:41:21.649" v="22108" actId="465"/>
          <ac:picMkLst>
            <pc:docMk/>
            <pc:sldMk cId="3998632226" sldId="2145706701"/>
            <ac:picMk id="8" creationId="{7FCC9948-E1E4-4C33-AD1B-66E1EFB60EA0}"/>
          </ac:picMkLst>
        </pc:picChg>
        <pc:picChg chg="add mod">
          <ac:chgData name="Daniel Barnes" userId="b303a15ee67145ed" providerId="LiveId" clId="{4A5A1811-DFF2-43F5-A7A7-22A66EF04CEB}" dt="2022-04-03T12:41:10.556" v="22105" actId="164"/>
          <ac:picMkLst>
            <pc:docMk/>
            <pc:sldMk cId="3998632226" sldId="2145706701"/>
            <ac:picMk id="9" creationId="{E238F02F-1A57-4F59-82AD-DA2E7484839C}"/>
          </ac:picMkLst>
        </pc:picChg>
      </pc:sldChg>
      <pc:sldChg chg="modSp add mod ord">
        <pc:chgData name="Daniel Barnes" userId="b303a15ee67145ed" providerId="LiveId" clId="{4A5A1811-DFF2-43F5-A7A7-22A66EF04CEB}" dt="2022-03-13T22:58:26.179" v="4531" actId="12789"/>
        <pc:sldMkLst>
          <pc:docMk/>
          <pc:sldMk cId="3308158797" sldId="2145706702"/>
        </pc:sldMkLst>
        <pc:spChg chg="mod">
          <ac:chgData name="Daniel Barnes" userId="b303a15ee67145ed" providerId="LiveId" clId="{4A5A1811-DFF2-43F5-A7A7-22A66EF04CEB}" dt="2022-03-13T22:58:26.179" v="4531" actId="12789"/>
          <ac:spMkLst>
            <pc:docMk/>
            <pc:sldMk cId="3308158797" sldId="2145706702"/>
            <ac:spMk id="2" creationId="{0107FA66-646B-42C0-A453-9C2949F7188C}"/>
          </ac:spMkLst>
        </pc:spChg>
      </pc:sldChg>
      <pc:sldChg chg="addSp delSp modSp add mod ord modClrScheme chgLayout">
        <pc:chgData name="Daniel Barnes" userId="b303a15ee67145ed" providerId="LiveId" clId="{4A5A1811-DFF2-43F5-A7A7-22A66EF04CEB}" dt="2022-03-13T23:10:35.576" v="4786" actId="13822"/>
        <pc:sldMkLst>
          <pc:docMk/>
          <pc:sldMk cId="2789718783" sldId="2145706703"/>
        </pc:sldMkLst>
        <pc:spChg chg="mod ord">
          <ac:chgData name="Daniel Barnes" userId="b303a15ee67145ed" providerId="LiveId" clId="{4A5A1811-DFF2-43F5-A7A7-22A66EF04CEB}" dt="2022-03-13T23:07:04.934" v="4746" actId="1076"/>
          <ac:spMkLst>
            <pc:docMk/>
            <pc:sldMk cId="2789718783" sldId="2145706703"/>
            <ac:spMk id="2" creationId="{0107FA66-646B-42C0-A453-9C2949F7188C}"/>
          </ac:spMkLst>
        </pc:spChg>
        <pc:spChg chg="add del mod ord">
          <ac:chgData name="Daniel Barnes" userId="b303a15ee67145ed" providerId="LiveId" clId="{4A5A1811-DFF2-43F5-A7A7-22A66EF04CEB}" dt="2022-03-13T22:59:57.377" v="4552" actId="700"/>
          <ac:spMkLst>
            <pc:docMk/>
            <pc:sldMk cId="2789718783" sldId="2145706703"/>
            <ac:spMk id="3" creationId="{82A72CA6-856A-496A-A396-5CC4B94A833E}"/>
          </ac:spMkLst>
        </pc:spChg>
        <pc:spChg chg="add del mod ord">
          <ac:chgData name="Daniel Barnes" userId="b303a15ee67145ed" providerId="LiveId" clId="{4A5A1811-DFF2-43F5-A7A7-22A66EF04CEB}" dt="2022-03-13T23:02:11.656" v="4652" actId="478"/>
          <ac:spMkLst>
            <pc:docMk/>
            <pc:sldMk cId="2789718783" sldId="2145706703"/>
            <ac:spMk id="4" creationId="{3528922B-13E5-4DC6-AE57-E7ECDE410C68}"/>
          </ac:spMkLst>
        </pc:spChg>
        <pc:spChg chg="add del mod ord">
          <ac:chgData name="Daniel Barnes" userId="b303a15ee67145ed" providerId="LiveId" clId="{4A5A1811-DFF2-43F5-A7A7-22A66EF04CEB}" dt="2022-03-13T23:01:19.958" v="4553"/>
          <ac:spMkLst>
            <pc:docMk/>
            <pc:sldMk cId="2789718783" sldId="2145706703"/>
            <ac:spMk id="5" creationId="{F06081CE-7541-43F4-9771-F2983EFEA7C6}"/>
          </ac:spMkLst>
        </pc:spChg>
        <pc:spChg chg="add mod">
          <ac:chgData name="Daniel Barnes" userId="b303a15ee67145ed" providerId="LiveId" clId="{4A5A1811-DFF2-43F5-A7A7-22A66EF04CEB}" dt="2022-03-13T23:10:13.947" v="4780" actId="13822"/>
          <ac:spMkLst>
            <pc:docMk/>
            <pc:sldMk cId="2789718783" sldId="2145706703"/>
            <ac:spMk id="7" creationId="{B30411E9-F855-4B0F-9D2C-22D62BEBFAA5}"/>
          </ac:spMkLst>
        </pc:spChg>
        <pc:spChg chg="add mod">
          <ac:chgData name="Daniel Barnes" userId="b303a15ee67145ed" providerId="LiveId" clId="{4A5A1811-DFF2-43F5-A7A7-22A66EF04CEB}" dt="2022-03-13T23:10:23.242" v="4782" actId="13822"/>
          <ac:spMkLst>
            <pc:docMk/>
            <pc:sldMk cId="2789718783" sldId="2145706703"/>
            <ac:spMk id="8" creationId="{6F7280D8-18F2-49ED-AED6-846EA92971CF}"/>
          </ac:spMkLst>
        </pc:spChg>
        <pc:spChg chg="add mod">
          <ac:chgData name="Daniel Barnes" userId="b303a15ee67145ed" providerId="LiveId" clId="{4A5A1811-DFF2-43F5-A7A7-22A66EF04CEB}" dt="2022-03-13T23:10:35.576" v="4786" actId="13822"/>
          <ac:spMkLst>
            <pc:docMk/>
            <pc:sldMk cId="2789718783" sldId="2145706703"/>
            <ac:spMk id="9" creationId="{B323FB2B-9F0E-40D7-9DF7-6512AA49013B}"/>
          </ac:spMkLst>
        </pc:spChg>
        <pc:picChg chg="add mod">
          <ac:chgData name="Daniel Barnes" userId="b303a15ee67145ed" providerId="LiveId" clId="{4A5A1811-DFF2-43F5-A7A7-22A66EF04CEB}" dt="2022-03-13T23:06:21.280" v="4737" actId="1076"/>
          <ac:picMkLst>
            <pc:docMk/>
            <pc:sldMk cId="2789718783" sldId="2145706703"/>
            <ac:picMk id="6" creationId="{297D654A-DCC7-4639-9E61-193D548EC7B8}"/>
          </ac:picMkLst>
        </pc:picChg>
      </pc:sldChg>
      <pc:sldChg chg="addSp delSp modSp add mod ord">
        <pc:chgData name="Daniel Barnes" userId="b303a15ee67145ed" providerId="LiveId" clId="{4A5A1811-DFF2-43F5-A7A7-22A66EF04CEB}" dt="2022-04-03T12:27:27.545" v="21999" actId="20577"/>
        <pc:sldMkLst>
          <pc:docMk/>
          <pc:sldMk cId="914715929" sldId="2145706704"/>
        </pc:sldMkLst>
        <pc:spChg chg="mod">
          <ac:chgData name="Daniel Barnes" userId="b303a15ee67145ed" providerId="LiveId" clId="{4A5A1811-DFF2-43F5-A7A7-22A66EF04CEB}" dt="2022-03-21T22:30:12.404" v="8902" actId="20577"/>
          <ac:spMkLst>
            <pc:docMk/>
            <pc:sldMk cId="914715929" sldId="2145706704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3T12:27:27.545" v="21999" actId="20577"/>
          <ac:spMkLst>
            <pc:docMk/>
            <pc:sldMk cId="914715929" sldId="2145706704"/>
            <ac:spMk id="3" creationId="{E6EB4016-53BF-47E2-8C18-4CAA9DE4C1F2}"/>
          </ac:spMkLst>
        </pc:spChg>
        <pc:picChg chg="del">
          <ac:chgData name="Daniel Barnes" userId="b303a15ee67145ed" providerId="LiveId" clId="{4A5A1811-DFF2-43F5-A7A7-22A66EF04CEB}" dt="2022-03-21T22:30:13.716" v="8903" actId="478"/>
          <ac:picMkLst>
            <pc:docMk/>
            <pc:sldMk cId="914715929" sldId="2145706704"/>
            <ac:picMk id="5" creationId="{D7DE6A59-7FE8-4904-BC04-04086A45EBB8}"/>
          </ac:picMkLst>
        </pc:picChg>
        <pc:picChg chg="add del mod">
          <ac:chgData name="Daniel Barnes" userId="b303a15ee67145ed" providerId="LiveId" clId="{4A5A1811-DFF2-43F5-A7A7-22A66EF04CEB}" dt="2022-03-21T22:30:31.005" v="8908" actId="478"/>
          <ac:picMkLst>
            <pc:docMk/>
            <pc:sldMk cId="914715929" sldId="2145706704"/>
            <ac:picMk id="6" creationId="{59000BE3-B04B-40DF-96E3-A49E21DDE94C}"/>
          </ac:picMkLst>
        </pc:picChg>
        <pc:picChg chg="add mod">
          <ac:chgData name="Daniel Barnes" userId="b303a15ee67145ed" providerId="LiveId" clId="{4A5A1811-DFF2-43F5-A7A7-22A66EF04CEB}" dt="2022-04-02T20:33:40.857" v="18669" actId="14100"/>
          <ac:picMkLst>
            <pc:docMk/>
            <pc:sldMk cId="914715929" sldId="2145706704"/>
            <ac:picMk id="8" creationId="{0F7D7359-C671-4EFA-B6BA-5AB82E5E4F0B}"/>
          </ac:picMkLst>
        </pc:picChg>
      </pc:sldChg>
      <pc:sldChg chg="addSp modSp add del mod modClrScheme chgLayout">
        <pc:chgData name="Daniel Barnes" userId="b303a15ee67145ed" providerId="LiveId" clId="{4A5A1811-DFF2-43F5-A7A7-22A66EF04CEB}" dt="2022-03-13T23:04:01.783" v="4696" actId="47"/>
        <pc:sldMkLst>
          <pc:docMk/>
          <pc:sldMk cId="2412971563" sldId="2145706704"/>
        </pc:sldMkLst>
        <pc:spChg chg="mod ord">
          <ac:chgData name="Daniel Barnes" userId="b303a15ee67145ed" providerId="LiveId" clId="{4A5A1811-DFF2-43F5-A7A7-22A66EF04CEB}" dt="2022-03-13T23:03:59.349" v="4695" actId="700"/>
          <ac:spMkLst>
            <pc:docMk/>
            <pc:sldMk cId="2412971563" sldId="2145706704"/>
            <ac:spMk id="2" creationId="{0107FA66-646B-42C0-A453-9C2949F7188C}"/>
          </ac:spMkLst>
        </pc:spChg>
        <pc:spChg chg="add mod ord">
          <ac:chgData name="Daniel Barnes" userId="b303a15ee67145ed" providerId="LiveId" clId="{4A5A1811-DFF2-43F5-A7A7-22A66EF04CEB}" dt="2022-03-13T23:03:59.349" v="4695" actId="700"/>
          <ac:spMkLst>
            <pc:docMk/>
            <pc:sldMk cId="2412971563" sldId="2145706704"/>
            <ac:spMk id="3" creationId="{DFC523C9-E807-41DF-9F7A-CC26A3F5DD4E}"/>
          </ac:spMkLst>
        </pc:spChg>
        <pc:spChg chg="add mod ord">
          <ac:chgData name="Daniel Barnes" userId="b303a15ee67145ed" providerId="LiveId" clId="{4A5A1811-DFF2-43F5-A7A7-22A66EF04CEB}" dt="2022-03-13T23:03:59.349" v="4695" actId="700"/>
          <ac:spMkLst>
            <pc:docMk/>
            <pc:sldMk cId="2412971563" sldId="2145706704"/>
            <ac:spMk id="4" creationId="{9676CB81-0C2F-45CA-8E50-621F9722AAF3}"/>
          </ac:spMkLst>
        </pc:spChg>
        <pc:spChg chg="add mod ord">
          <ac:chgData name="Daniel Barnes" userId="b303a15ee67145ed" providerId="LiveId" clId="{4A5A1811-DFF2-43F5-A7A7-22A66EF04CEB}" dt="2022-03-13T23:03:59.349" v="4695" actId="700"/>
          <ac:spMkLst>
            <pc:docMk/>
            <pc:sldMk cId="2412971563" sldId="2145706704"/>
            <ac:spMk id="5" creationId="{07630C71-23C9-4BF7-ACAA-5E45FE736FEA}"/>
          </ac:spMkLst>
        </pc:spChg>
        <pc:spChg chg="add mod ord">
          <ac:chgData name="Daniel Barnes" userId="b303a15ee67145ed" providerId="LiveId" clId="{4A5A1811-DFF2-43F5-A7A7-22A66EF04CEB}" dt="2022-03-13T23:03:59.349" v="4695" actId="700"/>
          <ac:spMkLst>
            <pc:docMk/>
            <pc:sldMk cId="2412971563" sldId="2145706704"/>
            <ac:spMk id="7" creationId="{9994C9B5-1BC1-4C6C-A83B-5B80A4271A08}"/>
          </ac:spMkLst>
        </pc:spChg>
        <pc:spChg chg="add mod ord">
          <ac:chgData name="Daniel Barnes" userId="b303a15ee67145ed" providerId="LiveId" clId="{4A5A1811-DFF2-43F5-A7A7-22A66EF04CEB}" dt="2022-03-13T23:03:59.349" v="4695" actId="700"/>
          <ac:spMkLst>
            <pc:docMk/>
            <pc:sldMk cId="2412971563" sldId="2145706704"/>
            <ac:spMk id="8" creationId="{CEAFF049-AD75-4D25-94CF-3590C7388FFC}"/>
          </ac:spMkLst>
        </pc:spChg>
        <pc:spChg chg="add mod ord">
          <ac:chgData name="Daniel Barnes" userId="b303a15ee67145ed" providerId="LiveId" clId="{4A5A1811-DFF2-43F5-A7A7-22A66EF04CEB}" dt="2022-03-13T23:03:59.349" v="4695" actId="700"/>
          <ac:spMkLst>
            <pc:docMk/>
            <pc:sldMk cId="2412971563" sldId="2145706704"/>
            <ac:spMk id="9" creationId="{CA696232-2C94-4CE1-9B00-5B12F1079E2C}"/>
          </ac:spMkLst>
        </pc:spChg>
        <pc:picChg chg="mod ord">
          <ac:chgData name="Daniel Barnes" userId="b303a15ee67145ed" providerId="LiveId" clId="{4A5A1811-DFF2-43F5-A7A7-22A66EF04CEB}" dt="2022-03-13T23:03:59.349" v="4695" actId="700"/>
          <ac:picMkLst>
            <pc:docMk/>
            <pc:sldMk cId="2412971563" sldId="2145706704"/>
            <ac:picMk id="6" creationId="{297D654A-DCC7-4639-9E61-193D548EC7B8}"/>
          </ac:picMkLst>
        </pc:picChg>
      </pc:sldChg>
      <pc:sldChg chg="addSp delSp modSp add mod ord">
        <pc:chgData name="Daniel Barnes" userId="b303a15ee67145ed" providerId="LiveId" clId="{4A5A1811-DFF2-43F5-A7A7-22A66EF04CEB}" dt="2022-04-03T12:49:07.138" v="22191" actId="108"/>
        <pc:sldMkLst>
          <pc:docMk/>
          <pc:sldMk cId="1681281583" sldId="2145706705"/>
        </pc:sldMkLst>
        <pc:spChg chg="mod">
          <ac:chgData name="Daniel Barnes" userId="b303a15ee67145ed" providerId="LiveId" clId="{4A5A1811-DFF2-43F5-A7A7-22A66EF04CEB}" dt="2022-03-21T22:58:13.236" v="11207" actId="20577"/>
          <ac:spMkLst>
            <pc:docMk/>
            <pc:sldMk cId="1681281583" sldId="2145706705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37:36.587" v="12593" actId="2711"/>
          <ac:spMkLst>
            <pc:docMk/>
            <pc:sldMk cId="1681281583" sldId="2145706705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6:24.322" v="11833"/>
          <ac:spMkLst>
            <pc:docMk/>
            <pc:sldMk cId="1681281583" sldId="2145706705"/>
            <ac:spMk id="13" creationId="{95549343-9BDE-4AD6-956A-51D7C55E2D4D}"/>
          </ac:spMkLst>
        </pc:spChg>
        <pc:picChg chg="del">
          <ac:chgData name="Daniel Barnes" userId="b303a15ee67145ed" providerId="LiveId" clId="{4A5A1811-DFF2-43F5-A7A7-22A66EF04CEB}" dt="2022-03-21T22:54:42.887" v="11164" actId="478"/>
          <ac:picMkLst>
            <pc:docMk/>
            <pc:sldMk cId="1681281583" sldId="2145706705"/>
            <ac:picMk id="5" creationId="{2137E22D-7AD0-46D4-811E-8FD3E9E4F3A8}"/>
          </ac:picMkLst>
        </pc:picChg>
        <pc:picChg chg="add del mod">
          <ac:chgData name="Daniel Barnes" userId="b303a15ee67145ed" providerId="LiveId" clId="{4A5A1811-DFF2-43F5-A7A7-22A66EF04CEB}" dt="2022-03-21T23:23:39.578" v="11783" actId="478"/>
          <ac:picMkLst>
            <pc:docMk/>
            <pc:sldMk cId="1681281583" sldId="2145706705"/>
            <ac:picMk id="6" creationId="{3FA79C4B-DD0C-426E-B8D1-C5BC3B766FF6}"/>
          </ac:picMkLst>
        </pc:picChg>
        <pc:picChg chg="add del mod">
          <ac:chgData name="Daniel Barnes" userId="b303a15ee67145ed" providerId="LiveId" clId="{4A5A1811-DFF2-43F5-A7A7-22A66EF04CEB}" dt="2022-03-21T23:23:55.113" v="11789" actId="478"/>
          <ac:picMkLst>
            <pc:docMk/>
            <pc:sldMk cId="1681281583" sldId="2145706705"/>
            <ac:picMk id="8" creationId="{DA8B8A11-421F-48D3-A5CD-CA99EC8FAC85}"/>
          </ac:picMkLst>
        </pc:picChg>
        <pc:picChg chg="add mod">
          <ac:chgData name="Daniel Barnes" userId="b303a15ee67145ed" providerId="LiveId" clId="{4A5A1811-DFF2-43F5-A7A7-22A66EF04CEB}" dt="2022-03-22T19:53:30.648" v="15973" actId="1440"/>
          <ac:picMkLst>
            <pc:docMk/>
            <pc:sldMk cId="1681281583" sldId="2145706705"/>
            <ac:picMk id="10" creationId="{4D323A5A-6436-4B65-9875-46D896711560}"/>
          </ac:picMkLst>
        </pc:picChg>
        <pc:picChg chg="add mod">
          <ac:chgData name="Daniel Barnes" userId="b303a15ee67145ed" providerId="LiveId" clId="{4A5A1811-DFF2-43F5-A7A7-22A66EF04CEB}" dt="2022-04-03T12:49:07.138" v="22191" actId="108"/>
          <ac:picMkLst>
            <pc:docMk/>
            <pc:sldMk cId="1681281583" sldId="2145706705"/>
            <ac:picMk id="12" creationId="{AF7CE297-E8D5-47EE-A874-5A05AD52E1AC}"/>
          </ac:picMkLst>
        </pc:picChg>
      </pc:sldChg>
      <pc:sldChg chg="addSp delSp modSp new del mod modClrScheme chgLayout">
        <pc:chgData name="Daniel Barnes" userId="b303a15ee67145ed" providerId="LiveId" clId="{4A5A1811-DFF2-43F5-A7A7-22A66EF04CEB}" dt="2022-04-03T10:09:10.075" v="19772" actId="47"/>
        <pc:sldMkLst>
          <pc:docMk/>
          <pc:sldMk cId="2051228067" sldId="2145706706"/>
        </pc:sldMkLst>
        <pc:spChg chg="del mod ord">
          <ac:chgData name="Daniel Barnes" userId="b303a15ee67145ed" providerId="LiveId" clId="{4A5A1811-DFF2-43F5-A7A7-22A66EF04CEB}" dt="2022-04-03T10:04:06.899" v="19553" actId="700"/>
          <ac:spMkLst>
            <pc:docMk/>
            <pc:sldMk cId="2051228067" sldId="2145706706"/>
            <ac:spMk id="2" creationId="{F86C5106-86DC-41EA-A99A-B9E169106465}"/>
          </ac:spMkLst>
        </pc:spChg>
        <pc:spChg chg="del mod ord">
          <ac:chgData name="Daniel Barnes" userId="b303a15ee67145ed" providerId="LiveId" clId="{4A5A1811-DFF2-43F5-A7A7-22A66EF04CEB}" dt="2022-04-03T10:04:06.899" v="19553" actId="700"/>
          <ac:spMkLst>
            <pc:docMk/>
            <pc:sldMk cId="2051228067" sldId="2145706706"/>
            <ac:spMk id="3" creationId="{E364510D-238E-4808-8287-24FAEB020DDE}"/>
          </ac:spMkLst>
        </pc:spChg>
        <pc:spChg chg="add mod ord">
          <ac:chgData name="Daniel Barnes" userId="b303a15ee67145ed" providerId="LiveId" clId="{4A5A1811-DFF2-43F5-A7A7-22A66EF04CEB}" dt="2022-04-03T10:04:06.899" v="19553" actId="700"/>
          <ac:spMkLst>
            <pc:docMk/>
            <pc:sldMk cId="2051228067" sldId="2145706706"/>
            <ac:spMk id="4" creationId="{933F1F3B-5659-4382-A875-746A948B5B70}"/>
          </ac:spMkLst>
        </pc:spChg>
        <pc:spChg chg="add mod ord">
          <ac:chgData name="Daniel Barnes" userId="b303a15ee67145ed" providerId="LiveId" clId="{4A5A1811-DFF2-43F5-A7A7-22A66EF04CEB}" dt="2022-04-03T10:04:57.474" v="19559" actId="20577"/>
          <ac:spMkLst>
            <pc:docMk/>
            <pc:sldMk cId="2051228067" sldId="2145706706"/>
            <ac:spMk id="5" creationId="{5FB27869-D0F1-4720-830E-DA7D1C53D881}"/>
          </ac:spMkLst>
        </pc:spChg>
        <pc:spChg chg="add mod ord">
          <ac:chgData name="Daniel Barnes" userId="b303a15ee67145ed" providerId="LiveId" clId="{4A5A1811-DFF2-43F5-A7A7-22A66EF04CEB}" dt="2022-04-03T10:04:54.286" v="19556" actId="20577"/>
          <ac:spMkLst>
            <pc:docMk/>
            <pc:sldMk cId="2051228067" sldId="2145706706"/>
            <ac:spMk id="6" creationId="{8BBE2621-8B01-4CF3-9AD8-12B7FCC3275F}"/>
          </ac:spMkLst>
        </pc:spChg>
        <pc:spChg chg="add mod ord">
          <ac:chgData name="Daniel Barnes" userId="b303a15ee67145ed" providerId="LiveId" clId="{4A5A1811-DFF2-43F5-A7A7-22A66EF04CEB}" dt="2022-04-03T10:04:58.052" v="19560" actId="20577"/>
          <ac:spMkLst>
            <pc:docMk/>
            <pc:sldMk cId="2051228067" sldId="2145706706"/>
            <ac:spMk id="7" creationId="{C1F2C662-6A3C-4645-801B-652247F9B1F9}"/>
          </ac:spMkLst>
        </pc:spChg>
        <pc:spChg chg="add mod ord">
          <ac:chgData name="Daniel Barnes" userId="b303a15ee67145ed" providerId="LiveId" clId="{4A5A1811-DFF2-43F5-A7A7-22A66EF04CEB}" dt="2022-04-03T10:04:55.043" v="19557" actId="20577"/>
          <ac:spMkLst>
            <pc:docMk/>
            <pc:sldMk cId="2051228067" sldId="2145706706"/>
            <ac:spMk id="8" creationId="{76E962A2-4BA9-4D71-9C50-CFAA6E569BD4}"/>
          </ac:spMkLst>
        </pc:spChg>
        <pc:spChg chg="add mod ord">
          <ac:chgData name="Daniel Barnes" userId="b303a15ee67145ed" providerId="LiveId" clId="{4A5A1811-DFF2-43F5-A7A7-22A66EF04CEB}" dt="2022-04-03T10:04:59.188" v="19561" actId="20577"/>
          <ac:spMkLst>
            <pc:docMk/>
            <pc:sldMk cId="2051228067" sldId="2145706706"/>
            <ac:spMk id="9" creationId="{7EE8EE5B-E15E-4237-9024-7FFC976B623A}"/>
          </ac:spMkLst>
        </pc:spChg>
        <pc:spChg chg="add mod ord">
          <ac:chgData name="Daniel Barnes" userId="b303a15ee67145ed" providerId="LiveId" clId="{4A5A1811-DFF2-43F5-A7A7-22A66EF04CEB}" dt="2022-04-03T10:04:56.114" v="19558" actId="20577"/>
          <ac:spMkLst>
            <pc:docMk/>
            <pc:sldMk cId="2051228067" sldId="2145706706"/>
            <ac:spMk id="10" creationId="{6E5A144C-220F-431A-85A9-DB3EAD02DB31}"/>
          </ac:spMkLst>
        </pc:spChg>
      </pc:sldChg>
      <pc:sldChg chg="modSp add mod ord">
        <pc:chgData name="Daniel Barnes" userId="b303a15ee67145ed" providerId="LiveId" clId="{4A5A1811-DFF2-43F5-A7A7-22A66EF04CEB}" dt="2022-04-03T13:02:00.294" v="22349" actId="20577"/>
        <pc:sldMkLst>
          <pc:docMk/>
          <pc:sldMk cId="2992863659" sldId="2145706706"/>
        </pc:sldMkLst>
        <pc:spChg chg="mod">
          <ac:chgData name="Daniel Barnes" userId="b303a15ee67145ed" providerId="LiveId" clId="{4A5A1811-DFF2-43F5-A7A7-22A66EF04CEB}" dt="2022-04-03T13:02:00.294" v="22349" actId="20577"/>
          <ac:spMkLst>
            <pc:docMk/>
            <pc:sldMk cId="2992863659" sldId="2145706706"/>
            <ac:spMk id="2" creationId="{0107FA66-646B-42C0-A453-9C2949F7188C}"/>
          </ac:spMkLst>
        </pc:spChg>
      </pc:sldChg>
      <pc:sldMasterChg chg="modSp mod">
        <pc:chgData name="Daniel Barnes" userId="b303a15ee67145ed" providerId="LiveId" clId="{4A5A1811-DFF2-43F5-A7A7-22A66EF04CEB}" dt="2022-03-13T19:18:43.696" v="218" actId="207"/>
        <pc:sldMasterMkLst>
          <pc:docMk/>
          <pc:sldMasterMk cId="1901136218" sldId="2147483962"/>
        </pc:sldMasterMkLst>
        <pc:spChg chg="mod">
          <ac:chgData name="Daniel Barnes" userId="b303a15ee67145ed" providerId="LiveId" clId="{4A5A1811-DFF2-43F5-A7A7-22A66EF04CEB}" dt="2022-03-13T19:18:43.696" v="218" actId="207"/>
          <ac:spMkLst>
            <pc:docMk/>
            <pc:sldMasterMk cId="1901136218" sldId="2147483962"/>
            <ac:spMk id="15" creationId="{FD18D95E-D14C-49B6-A919-7539183DEE59}"/>
          </ac:spMkLst>
        </pc:spChg>
        <pc:grpChg chg="mod">
          <ac:chgData name="Daniel Barnes" userId="b303a15ee67145ed" providerId="LiveId" clId="{4A5A1811-DFF2-43F5-A7A7-22A66EF04CEB}" dt="2022-03-13T19:18:39.806" v="217" actId="1076"/>
          <ac:grpSpMkLst>
            <pc:docMk/>
            <pc:sldMasterMk cId="1901136218" sldId="2147483962"/>
            <ac:grpSpMk id="14" creationId="{DF1B6CA0-D459-4178-9536-D92161121E6D}"/>
          </ac:grpSpMkLst>
        </pc:grpChg>
      </pc:sldMasterChg>
    </pc:docChg>
  </pc:docChgLst>
</pc:chgInfo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0C8454-08E8-446B-96D9-BE2CADA83DD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B294582D-6E68-4585-A558-F9F77EBC74A5}">
      <dgm:prSet/>
      <dgm:spPr/>
      <dgm:t>
        <a:bodyPr/>
        <a:lstStyle/>
        <a:p>
          <a:r>
            <a:rPr lang="en-CA"/>
            <a:t>• SpaceX launches Falcon 9 rockets at a cost of around $62m. This is considerably cheaper than other providers (which usually cost upwards of $165m), and much of the savings are because SpaceX can land, and then re-use the first stage of the rocket.</a:t>
          </a:r>
          <a:endParaRPr lang="en-US"/>
        </a:p>
      </dgm:t>
    </dgm:pt>
    <dgm:pt modelId="{893A247F-B0F5-4876-AAE6-7A3343119CDF}" type="parTrans" cxnId="{649B896D-AFD9-4D53-8DBB-49039CEC1AD5}">
      <dgm:prSet/>
      <dgm:spPr/>
      <dgm:t>
        <a:bodyPr/>
        <a:lstStyle/>
        <a:p>
          <a:endParaRPr lang="en-US"/>
        </a:p>
      </dgm:t>
    </dgm:pt>
    <dgm:pt modelId="{2588C600-1D19-4776-A4DA-D54D6F557A0E}" type="sibTrans" cxnId="{649B896D-AFD9-4D53-8DBB-49039CEC1AD5}">
      <dgm:prSet/>
      <dgm:spPr/>
      <dgm:t>
        <a:bodyPr/>
        <a:lstStyle/>
        <a:p>
          <a:endParaRPr lang="en-US"/>
        </a:p>
      </dgm:t>
    </dgm:pt>
    <dgm:pt modelId="{E64925CA-B58A-452C-A6DB-5A26B072DC7A}">
      <dgm:prSet/>
      <dgm:spPr/>
      <dgm:t>
        <a:bodyPr/>
        <a:lstStyle/>
        <a:p>
          <a:r>
            <a:rPr lang="en-CA"/>
            <a:t>• If we can make predictions on whether the first stage will land, we can determine the cost of a launch, and use this information to assess whether or not an alternate company should bid and SpaceX for a rocket launch.</a:t>
          </a:r>
          <a:endParaRPr lang="en-US"/>
        </a:p>
      </dgm:t>
    </dgm:pt>
    <dgm:pt modelId="{072F0745-4F27-461F-98AE-5BA7C845CDEF}" type="parTrans" cxnId="{0283BD1B-199F-4132-AF1B-B1330AFB5453}">
      <dgm:prSet/>
      <dgm:spPr/>
      <dgm:t>
        <a:bodyPr/>
        <a:lstStyle/>
        <a:p>
          <a:endParaRPr lang="en-US"/>
        </a:p>
      </dgm:t>
    </dgm:pt>
    <dgm:pt modelId="{14E8C781-4793-4F30-A657-78E8155D124B}" type="sibTrans" cxnId="{0283BD1B-199F-4132-AF1B-B1330AFB5453}">
      <dgm:prSet/>
      <dgm:spPr/>
      <dgm:t>
        <a:bodyPr/>
        <a:lstStyle/>
        <a:p>
          <a:endParaRPr lang="en-US"/>
        </a:p>
      </dgm:t>
    </dgm:pt>
    <dgm:pt modelId="{42C43D2F-AAEE-40B5-B3FF-EB4417DC0B42}">
      <dgm:prSet/>
      <dgm:spPr/>
      <dgm:t>
        <a:bodyPr/>
        <a:lstStyle/>
        <a:p>
          <a:r>
            <a:rPr lang="en-CA"/>
            <a:t>• This project will </a:t>
          </a:r>
          <a:r>
            <a:rPr lang="en-CA" b="0" i="0"/>
            <a:t>ultimately predict if the Space X Falcon 9 first stage will land successfully.</a:t>
          </a:r>
          <a:endParaRPr lang="en-US"/>
        </a:p>
      </dgm:t>
    </dgm:pt>
    <dgm:pt modelId="{63B3A778-468A-403B-828F-FE945CABA911}" type="parTrans" cxnId="{14CC9181-96CE-4AD7-AF9F-FAA10B1D1A98}">
      <dgm:prSet/>
      <dgm:spPr/>
      <dgm:t>
        <a:bodyPr/>
        <a:lstStyle/>
        <a:p>
          <a:endParaRPr lang="en-US"/>
        </a:p>
      </dgm:t>
    </dgm:pt>
    <dgm:pt modelId="{B58CD359-FF43-462D-B4BD-B3ECD9412A8B}" type="sibTrans" cxnId="{14CC9181-96CE-4AD7-AF9F-FAA10B1D1A98}">
      <dgm:prSet/>
      <dgm:spPr/>
      <dgm:t>
        <a:bodyPr/>
        <a:lstStyle/>
        <a:p>
          <a:endParaRPr lang="en-US"/>
        </a:p>
      </dgm:t>
    </dgm:pt>
    <dgm:pt modelId="{D4B13078-9160-4BF6-9FD9-677768376FFA}" type="pres">
      <dgm:prSet presAssocID="{A10C8454-08E8-446B-96D9-BE2CADA83DD8}" presName="linear" presStyleCnt="0">
        <dgm:presLayoutVars>
          <dgm:animLvl val="lvl"/>
          <dgm:resizeHandles val="exact"/>
        </dgm:presLayoutVars>
      </dgm:prSet>
      <dgm:spPr/>
    </dgm:pt>
    <dgm:pt modelId="{54515561-7DCE-4C7E-BB84-2CA86E069D74}" type="pres">
      <dgm:prSet presAssocID="{B294582D-6E68-4585-A558-F9F77EBC74A5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E84E05E4-0E93-4C64-9220-D25835046460}" type="pres">
      <dgm:prSet presAssocID="{2588C600-1D19-4776-A4DA-D54D6F557A0E}" presName="spacer" presStyleCnt="0"/>
      <dgm:spPr/>
    </dgm:pt>
    <dgm:pt modelId="{243B87A6-3591-4969-92B5-9EC302F534F8}" type="pres">
      <dgm:prSet presAssocID="{E64925CA-B58A-452C-A6DB-5A26B072DC7A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7D51A512-119A-46E9-93E3-1538FE1093E9}" type="pres">
      <dgm:prSet presAssocID="{14E8C781-4793-4F30-A657-78E8155D124B}" presName="spacer" presStyleCnt="0"/>
      <dgm:spPr/>
    </dgm:pt>
    <dgm:pt modelId="{51BDF232-D992-4F87-9FE4-FBDE0C8E4D08}" type="pres">
      <dgm:prSet presAssocID="{42C43D2F-AAEE-40B5-B3FF-EB4417DC0B42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03E0EB0E-9CCC-4FC4-A7A0-7121161639E2}" type="presOf" srcId="{B294582D-6E68-4585-A558-F9F77EBC74A5}" destId="{54515561-7DCE-4C7E-BB84-2CA86E069D74}" srcOrd="0" destOrd="0" presId="urn:microsoft.com/office/officeart/2005/8/layout/vList2"/>
    <dgm:cxn modelId="{0283BD1B-199F-4132-AF1B-B1330AFB5453}" srcId="{A10C8454-08E8-446B-96D9-BE2CADA83DD8}" destId="{E64925CA-B58A-452C-A6DB-5A26B072DC7A}" srcOrd="1" destOrd="0" parTransId="{072F0745-4F27-461F-98AE-5BA7C845CDEF}" sibTransId="{14E8C781-4793-4F30-A657-78E8155D124B}"/>
    <dgm:cxn modelId="{92F6016D-24A3-481A-AEDA-93754A5E0A59}" type="presOf" srcId="{E64925CA-B58A-452C-A6DB-5A26B072DC7A}" destId="{243B87A6-3591-4969-92B5-9EC302F534F8}" srcOrd="0" destOrd="0" presId="urn:microsoft.com/office/officeart/2005/8/layout/vList2"/>
    <dgm:cxn modelId="{649B896D-AFD9-4D53-8DBB-49039CEC1AD5}" srcId="{A10C8454-08E8-446B-96D9-BE2CADA83DD8}" destId="{B294582D-6E68-4585-A558-F9F77EBC74A5}" srcOrd="0" destOrd="0" parTransId="{893A247F-B0F5-4876-AAE6-7A3343119CDF}" sibTransId="{2588C600-1D19-4776-A4DA-D54D6F557A0E}"/>
    <dgm:cxn modelId="{14CC9181-96CE-4AD7-AF9F-FAA10B1D1A98}" srcId="{A10C8454-08E8-446B-96D9-BE2CADA83DD8}" destId="{42C43D2F-AAEE-40B5-B3FF-EB4417DC0B42}" srcOrd="2" destOrd="0" parTransId="{63B3A778-468A-403B-828F-FE945CABA911}" sibTransId="{B58CD359-FF43-462D-B4BD-B3ECD9412A8B}"/>
    <dgm:cxn modelId="{84092FCF-CAF7-490D-9379-5292F28BC2FB}" type="presOf" srcId="{A10C8454-08E8-446B-96D9-BE2CADA83DD8}" destId="{D4B13078-9160-4BF6-9FD9-677768376FFA}" srcOrd="0" destOrd="0" presId="urn:microsoft.com/office/officeart/2005/8/layout/vList2"/>
    <dgm:cxn modelId="{A7FEFDE2-6BF4-4A4B-801D-FCA382703025}" type="presOf" srcId="{42C43D2F-AAEE-40B5-B3FF-EB4417DC0B42}" destId="{51BDF232-D992-4F87-9FE4-FBDE0C8E4D08}" srcOrd="0" destOrd="0" presId="urn:microsoft.com/office/officeart/2005/8/layout/vList2"/>
    <dgm:cxn modelId="{B394339A-45D1-4479-B1BB-E9EE6933C81C}" type="presParOf" srcId="{D4B13078-9160-4BF6-9FD9-677768376FFA}" destId="{54515561-7DCE-4C7E-BB84-2CA86E069D74}" srcOrd="0" destOrd="0" presId="urn:microsoft.com/office/officeart/2005/8/layout/vList2"/>
    <dgm:cxn modelId="{D56167CA-CA1F-42FB-9F55-71D6E07875D3}" type="presParOf" srcId="{D4B13078-9160-4BF6-9FD9-677768376FFA}" destId="{E84E05E4-0E93-4C64-9220-D25835046460}" srcOrd="1" destOrd="0" presId="urn:microsoft.com/office/officeart/2005/8/layout/vList2"/>
    <dgm:cxn modelId="{BA52646A-EAD0-4571-9260-2B3CC80A8FC4}" type="presParOf" srcId="{D4B13078-9160-4BF6-9FD9-677768376FFA}" destId="{243B87A6-3591-4969-92B5-9EC302F534F8}" srcOrd="2" destOrd="0" presId="urn:microsoft.com/office/officeart/2005/8/layout/vList2"/>
    <dgm:cxn modelId="{FF236EE8-EA05-40B0-8924-05721A9B5D1B}" type="presParOf" srcId="{D4B13078-9160-4BF6-9FD9-677768376FFA}" destId="{7D51A512-119A-46E9-93E3-1538FE1093E9}" srcOrd="3" destOrd="0" presId="urn:microsoft.com/office/officeart/2005/8/layout/vList2"/>
    <dgm:cxn modelId="{D6AB15A8-947F-4449-BD39-8095BFB79B4F}" type="presParOf" srcId="{D4B13078-9160-4BF6-9FD9-677768376FFA}" destId="{51BDF232-D992-4F87-9FE4-FBDE0C8E4D08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2749D51-1F0F-42C3-AE1F-1A84EC42DA6E}" type="doc">
      <dgm:prSet loTypeId="urn:microsoft.com/office/officeart/2018/5/layout/CenteredIconLabelDescription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1D27BBF-67BA-46F1-BAEA-C71DFF42C8A6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dirty="0">
              <a:solidFill>
                <a:srgbClr val="00B0F0"/>
              </a:solidFill>
            </a:rPr>
            <a:t>Data Collection</a:t>
          </a:r>
          <a:endParaRPr lang="en-US" dirty="0">
            <a:solidFill>
              <a:srgbClr val="00B0F0"/>
            </a:solidFill>
          </a:endParaRPr>
        </a:p>
      </dgm:t>
    </dgm:pt>
    <dgm:pt modelId="{177F3CE4-3646-4780-A6E1-DB7834B32B7D}" type="parTrans" cxnId="{9E6E45A7-E243-4325-819A-2B6905EB6968}">
      <dgm:prSet/>
      <dgm:spPr/>
      <dgm:t>
        <a:bodyPr/>
        <a:lstStyle/>
        <a:p>
          <a:endParaRPr lang="en-US"/>
        </a:p>
      </dgm:t>
    </dgm:pt>
    <dgm:pt modelId="{DB824E0A-D820-47F6-82FF-3A124960E5B6}" type="sibTrans" cxnId="{9E6E45A7-E243-4325-819A-2B6905EB6968}">
      <dgm:prSet/>
      <dgm:spPr/>
      <dgm:t>
        <a:bodyPr/>
        <a:lstStyle/>
        <a:p>
          <a:endParaRPr lang="en-US"/>
        </a:p>
      </dgm:t>
    </dgm:pt>
    <dgm:pt modelId="{995738DF-3ED2-4A5F-9972-CB16D81EC5CC}">
      <dgm:prSet custT="1"/>
      <dgm:spPr/>
      <dgm:t>
        <a:bodyPr/>
        <a:lstStyle/>
        <a:p>
          <a:pPr algn="l">
            <a:lnSpc>
              <a:spcPct val="100000"/>
            </a:lnSpc>
          </a:pPr>
          <a:r>
            <a:rPr lang="en-CA" sz="1200" b="0" i="0" dirty="0"/>
            <a:t>•</a:t>
          </a:r>
          <a:r>
            <a:rPr lang="en-GB" sz="1200" dirty="0"/>
            <a:t>Making GET requests to the SpaceX REST API</a:t>
          </a:r>
        </a:p>
        <a:p>
          <a:pPr algn="l">
            <a:lnSpc>
              <a:spcPct val="100000"/>
            </a:lnSpc>
          </a:pPr>
          <a:endParaRPr lang="en-GB" sz="1200" dirty="0"/>
        </a:p>
        <a:p>
          <a:pPr algn="l">
            <a:lnSpc>
              <a:spcPct val="100000"/>
            </a:lnSpc>
          </a:pPr>
          <a:r>
            <a:rPr lang="en-CA" sz="1200" b="0" i="0" dirty="0"/>
            <a:t>•</a:t>
          </a:r>
          <a:r>
            <a:rPr lang="en-GB" sz="1200" dirty="0"/>
            <a:t>Web Scraping</a:t>
          </a:r>
          <a:endParaRPr lang="en-US" sz="1200" dirty="0"/>
        </a:p>
      </dgm:t>
    </dgm:pt>
    <dgm:pt modelId="{57B60A9D-A8C1-4565-B402-F827603E9DB5}" type="parTrans" cxnId="{3905E375-5E55-4D87-8462-AAC8F2D290F2}">
      <dgm:prSet/>
      <dgm:spPr/>
      <dgm:t>
        <a:bodyPr/>
        <a:lstStyle/>
        <a:p>
          <a:endParaRPr lang="en-US"/>
        </a:p>
      </dgm:t>
    </dgm:pt>
    <dgm:pt modelId="{4FE97E12-8CD9-4BF3-AFAD-422FDFBDCFB6}" type="sibTrans" cxnId="{3905E375-5E55-4D87-8462-AAC8F2D290F2}">
      <dgm:prSet/>
      <dgm:spPr/>
      <dgm:t>
        <a:bodyPr/>
        <a:lstStyle/>
        <a:p>
          <a:endParaRPr lang="en-US"/>
        </a:p>
      </dgm:t>
    </dgm:pt>
    <dgm:pt modelId="{64F2778C-C040-4F5C-8B5F-4726E22A9864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dirty="0">
              <a:solidFill>
                <a:srgbClr val="00B0F0"/>
              </a:solidFill>
            </a:rPr>
            <a:t>Data Wrangling </a:t>
          </a:r>
          <a:endParaRPr lang="en-US" dirty="0">
            <a:solidFill>
              <a:srgbClr val="00B0F0"/>
            </a:solidFill>
          </a:endParaRPr>
        </a:p>
      </dgm:t>
    </dgm:pt>
    <dgm:pt modelId="{39DE789D-839C-4483-B49E-FD4998073463}" type="parTrans" cxnId="{59E7CDD7-B046-4401-8F6C-106E3CD76F3A}">
      <dgm:prSet/>
      <dgm:spPr/>
      <dgm:t>
        <a:bodyPr/>
        <a:lstStyle/>
        <a:p>
          <a:endParaRPr lang="en-US"/>
        </a:p>
      </dgm:t>
    </dgm:pt>
    <dgm:pt modelId="{6C5797F2-701D-4BE6-AB46-5C04DE9E32B2}" type="sibTrans" cxnId="{59E7CDD7-B046-4401-8F6C-106E3CD76F3A}">
      <dgm:prSet/>
      <dgm:spPr/>
      <dgm:t>
        <a:bodyPr/>
        <a:lstStyle/>
        <a:p>
          <a:endParaRPr lang="en-US"/>
        </a:p>
      </dgm:t>
    </dgm:pt>
    <dgm:pt modelId="{269634D6-44FD-415D-A21A-085A2B1B8D8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CA" sz="1200" b="0" i="0" dirty="0"/>
            <a:t>•</a:t>
          </a:r>
          <a:r>
            <a:rPr lang="en-GB" sz="1200" dirty="0"/>
            <a:t>Using the </a:t>
          </a:r>
          <a:r>
            <a:rPr lang="en-GB" sz="1200" dirty="0">
              <a:solidFill>
                <a:srgbClr val="00B0F0"/>
              </a:solidFill>
            </a:rPr>
            <a:t>.</a:t>
          </a:r>
          <a:r>
            <a:rPr lang="en-GB" sz="1200" dirty="0" err="1">
              <a:solidFill>
                <a:srgbClr val="00B0F0"/>
              </a:solidFill>
            </a:rPr>
            <a:t>fillna</a:t>
          </a:r>
          <a:r>
            <a:rPr lang="en-GB" sz="1200" dirty="0">
              <a:solidFill>
                <a:srgbClr val="00B0F0"/>
              </a:solidFill>
            </a:rPr>
            <a:t>() </a:t>
          </a:r>
          <a:r>
            <a:rPr lang="en-GB" sz="1200" dirty="0"/>
            <a:t>method to remove </a:t>
          </a:r>
          <a:r>
            <a:rPr lang="en-GB" sz="1200" dirty="0" err="1"/>
            <a:t>NaN</a:t>
          </a:r>
          <a:r>
            <a:rPr lang="en-GB" sz="1200" dirty="0"/>
            <a:t> values</a:t>
          </a:r>
          <a:endParaRPr lang="en-US" sz="1200" dirty="0"/>
        </a:p>
      </dgm:t>
    </dgm:pt>
    <dgm:pt modelId="{43CC63BC-640A-4FF1-A2F6-20A91650DDB6}" type="parTrans" cxnId="{BBC4E6AA-DA37-41EB-BACB-0F9D6FB17021}">
      <dgm:prSet/>
      <dgm:spPr/>
      <dgm:t>
        <a:bodyPr/>
        <a:lstStyle/>
        <a:p>
          <a:endParaRPr lang="en-US"/>
        </a:p>
      </dgm:t>
    </dgm:pt>
    <dgm:pt modelId="{3916860E-153B-457B-896E-5C768184CF1B}" type="sibTrans" cxnId="{BBC4E6AA-DA37-41EB-BACB-0F9D6FB17021}">
      <dgm:prSet/>
      <dgm:spPr/>
      <dgm:t>
        <a:bodyPr/>
        <a:lstStyle/>
        <a:p>
          <a:endParaRPr lang="en-US"/>
        </a:p>
      </dgm:t>
    </dgm:pt>
    <dgm:pt modelId="{7C30E88D-6C8E-4A96-92BD-502D79F75D05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200" dirty="0"/>
            <a:t>Using the </a:t>
          </a:r>
          <a:r>
            <a:rPr lang="en-GB" sz="1200" b="0" dirty="0">
              <a:solidFill>
                <a:srgbClr val="00B0F0"/>
              </a:solidFill>
            </a:rPr>
            <a:t>.</a:t>
          </a:r>
          <a:r>
            <a:rPr lang="en-GB" sz="1200" b="0" dirty="0" err="1">
              <a:solidFill>
                <a:srgbClr val="00B0F0"/>
              </a:solidFill>
            </a:rPr>
            <a:t>value_counts</a:t>
          </a:r>
          <a:r>
            <a:rPr lang="en-GB" sz="1200" b="0" dirty="0">
              <a:solidFill>
                <a:srgbClr val="00B0F0"/>
              </a:solidFill>
            </a:rPr>
            <a:t>()</a:t>
          </a:r>
          <a:r>
            <a:rPr lang="en-GB" sz="1200" dirty="0">
              <a:solidFill>
                <a:srgbClr val="00B0F0"/>
              </a:solidFill>
            </a:rPr>
            <a:t> </a:t>
          </a:r>
          <a:r>
            <a:rPr lang="en-GB" sz="1200" dirty="0"/>
            <a:t>method to determine the following:</a:t>
          </a:r>
          <a:endParaRPr lang="en-US" sz="1200" dirty="0"/>
        </a:p>
      </dgm:t>
    </dgm:pt>
    <dgm:pt modelId="{4B286293-DFB8-4226-A5D4-560C835744BC}" type="parTrans" cxnId="{73EA1EDF-8644-40A7-BD89-38F00C786FC9}">
      <dgm:prSet/>
      <dgm:spPr/>
      <dgm:t>
        <a:bodyPr/>
        <a:lstStyle/>
        <a:p>
          <a:endParaRPr lang="en-US"/>
        </a:p>
      </dgm:t>
    </dgm:pt>
    <dgm:pt modelId="{4AA60E72-C36A-4353-958A-14EE985739D0}" type="sibTrans" cxnId="{73EA1EDF-8644-40A7-BD89-38F00C786FC9}">
      <dgm:prSet/>
      <dgm:spPr/>
      <dgm:t>
        <a:bodyPr/>
        <a:lstStyle/>
        <a:p>
          <a:endParaRPr lang="en-US"/>
        </a:p>
      </dgm:t>
    </dgm:pt>
    <dgm:pt modelId="{015F001D-06F0-4A0D-9377-16AD955453F7}">
      <dgm:prSet custT="1"/>
      <dgm:spPr/>
      <dgm:t>
        <a:bodyPr/>
        <a:lstStyle/>
        <a:p>
          <a:r>
            <a:rPr lang="en-GB" sz="1200" dirty="0"/>
            <a:t>Number of launches on each site</a:t>
          </a:r>
          <a:endParaRPr lang="en-US" sz="1200" dirty="0"/>
        </a:p>
      </dgm:t>
    </dgm:pt>
    <dgm:pt modelId="{BE24E4DB-FDE9-4C45-BBE1-6F31707AE7B8}" type="parTrans" cxnId="{D5B8C562-4EB5-4783-8E11-E9C33D9574F7}">
      <dgm:prSet/>
      <dgm:spPr/>
      <dgm:t>
        <a:bodyPr/>
        <a:lstStyle/>
        <a:p>
          <a:endParaRPr lang="en-US"/>
        </a:p>
      </dgm:t>
    </dgm:pt>
    <dgm:pt modelId="{8A8BE398-366A-4574-B500-EB04F1F35ED9}" type="sibTrans" cxnId="{D5B8C562-4EB5-4783-8E11-E9C33D9574F7}">
      <dgm:prSet/>
      <dgm:spPr/>
      <dgm:t>
        <a:bodyPr/>
        <a:lstStyle/>
        <a:p>
          <a:endParaRPr lang="en-US"/>
        </a:p>
      </dgm:t>
    </dgm:pt>
    <dgm:pt modelId="{61AF7253-59FC-4DF8-9D42-E3DAD7525842}">
      <dgm:prSet custT="1"/>
      <dgm:spPr/>
      <dgm:t>
        <a:bodyPr/>
        <a:lstStyle/>
        <a:p>
          <a:r>
            <a:rPr lang="en-GB" sz="1200" dirty="0"/>
            <a:t>Number and occurrence of each orbit</a:t>
          </a:r>
          <a:endParaRPr lang="en-US" sz="1200" dirty="0"/>
        </a:p>
      </dgm:t>
    </dgm:pt>
    <dgm:pt modelId="{4143B29D-3700-48AE-AF70-8F7EBC252D7C}" type="parTrans" cxnId="{C1ACF45D-62CC-4268-8C6C-0E6307F09EA6}">
      <dgm:prSet/>
      <dgm:spPr/>
      <dgm:t>
        <a:bodyPr/>
        <a:lstStyle/>
        <a:p>
          <a:endParaRPr lang="en-US"/>
        </a:p>
      </dgm:t>
    </dgm:pt>
    <dgm:pt modelId="{3DE0562E-6FFB-40CC-9B97-888157E7004E}" type="sibTrans" cxnId="{C1ACF45D-62CC-4268-8C6C-0E6307F09EA6}">
      <dgm:prSet/>
      <dgm:spPr/>
      <dgm:t>
        <a:bodyPr/>
        <a:lstStyle/>
        <a:p>
          <a:endParaRPr lang="en-US"/>
        </a:p>
      </dgm:t>
    </dgm:pt>
    <dgm:pt modelId="{F6903F48-7895-4618-B5EC-905C8C35ADE1}">
      <dgm:prSet custT="1"/>
      <dgm:spPr/>
      <dgm:t>
        <a:bodyPr/>
        <a:lstStyle/>
        <a:p>
          <a:r>
            <a:rPr lang="en-GB" sz="1200" dirty="0"/>
            <a:t>Number and occurrence of mission outcome per orbit type</a:t>
          </a:r>
          <a:endParaRPr lang="en-US" sz="1200" dirty="0"/>
        </a:p>
      </dgm:t>
    </dgm:pt>
    <dgm:pt modelId="{94097229-46CA-411A-9341-6F64525B94B1}" type="parTrans" cxnId="{6884245B-43A3-4B3F-A8DE-3A446D2BAE98}">
      <dgm:prSet/>
      <dgm:spPr/>
      <dgm:t>
        <a:bodyPr/>
        <a:lstStyle/>
        <a:p>
          <a:endParaRPr lang="en-US"/>
        </a:p>
      </dgm:t>
    </dgm:pt>
    <dgm:pt modelId="{AD23E784-4865-4E59-8CE9-02812201BD00}" type="sibTrans" cxnId="{6884245B-43A3-4B3F-A8DE-3A446D2BAE98}">
      <dgm:prSet/>
      <dgm:spPr/>
      <dgm:t>
        <a:bodyPr/>
        <a:lstStyle/>
        <a:p>
          <a:endParaRPr lang="en-US"/>
        </a:p>
      </dgm:t>
    </dgm:pt>
    <dgm:pt modelId="{AB3FDD17-3C79-4F97-AAE0-54C3E62E450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200" dirty="0"/>
            <a:t>- Creating a landing outcome label that shows the following:</a:t>
          </a:r>
          <a:endParaRPr lang="en-US" sz="1200" dirty="0"/>
        </a:p>
      </dgm:t>
    </dgm:pt>
    <dgm:pt modelId="{8762C26F-689F-411F-AC6D-D77F4AB01F39}" type="parTrans" cxnId="{3BA5F50F-7948-473C-A197-0606E811CD7B}">
      <dgm:prSet/>
      <dgm:spPr/>
      <dgm:t>
        <a:bodyPr/>
        <a:lstStyle/>
        <a:p>
          <a:endParaRPr lang="en-US"/>
        </a:p>
      </dgm:t>
    </dgm:pt>
    <dgm:pt modelId="{54A9BC51-AB9B-42D6-8B63-9CB121F12B9B}" type="sibTrans" cxnId="{3BA5F50F-7948-473C-A197-0606E811CD7B}">
      <dgm:prSet/>
      <dgm:spPr/>
      <dgm:t>
        <a:bodyPr/>
        <a:lstStyle/>
        <a:p>
          <a:endParaRPr lang="en-US"/>
        </a:p>
      </dgm:t>
    </dgm:pt>
    <dgm:pt modelId="{F0B5272B-40BD-4E1D-AB24-E87B54CE6518}">
      <dgm:prSet custT="1"/>
      <dgm:spPr/>
      <dgm:t>
        <a:bodyPr/>
        <a:lstStyle/>
        <a:p>
          <a:r>
            <a:rPr lang="en-GB" sz="1200" dirty="0"/>
            <a:t>0 when the booster did not land successfully</a:t>
          </a:r>
          <a:endParaRPr lang="en-US" sz="1200" dirty="0"/>
        </a:p>
      </dgm:t>
    </dgm:pt>
    <dgm:pt modelId="{EB6252A9-7278-4CFB-A0B3-17FE080E10EF}" type="parTrans" cxnId="{B958D8F2-65F1-4825-B312-8876554C517C}">
      <dgm:prSet/>
      <dgm:spPr/>
      <dgm:t>
        <a:bodyPr/>
        <a:lstStyle/>
        <a:p>
          <a:endParaRPr lang="en-US"/>
        </a:p>
      </dgm:t>
    </dgm:pt>
    <dgm:pt modelId="{7EAE298B-9C0E-4C2C-A502-4CBA5D82B72D}" type="sibTrans" cxnId="{B958D8F2-65F1-4825-B312-8876554C517C}">
      <dgm:prSet/>
      <dgm:spPr/>
      <dgm:t>
        <a:bodyPr/>
        <a:lstStyle/>
        <a:p>
          <a:endParaRPr lang="en-US"/>
        </a:p>
      </dgm:t>
    </dgm:pt>
    <dgm:pt modelId="{C913FF9B-B455-458B-AB24-60CA542577E9}">
      <dgm:prSet custT="1"/>
      <dgm:spPr/>
      <dgm:t>
        <a:bodyPr/>
        <a:lstStyle/>
        <a:p>
          <a:r>
            <a:rPr lang="en-GB" sz="1200" dirty="0"/>
            <a:t>1 when the booster did land successfully</a:t>
          </a:r>
          <a:endParaRPr lang="en-US" sz="1200" dirty="0"/>
        </a:p>
      </dgm:t>
    </dgm:pt>
    <dgm:pt modelId="{30670A6A-700A-40C5-B521-1E1E0EC65291}" type="parTrans" cxnId="{8F625662-46CF-4B56-A87A-AB94A76D3262}">
      <dgm:prSet/>
      <dgm:spPr/>
      <dgm:t>
        <a:bodyPr/>
        <a:lstStyle/>
        <a:p>
          <a:endParaRPr lang="en-US"/>
        </a:p>
      </dgm:t>
    </dgm:pt>
    <dgm:pt modelId="{35839068-C6F6-4D61-B281-1B49E57FC0EF}" type="sibTrans" cxnId="{8F625662-46CF-4B56-A87A-AB94A76D3262}">
      <dgm:prSet/>
      <dgm:spPr/>
      <dgm:t>
        <a:bodyPr/>
        <a:lstStyle/>
        <a:p>
          <a:endParaRPr lang="en-US"/>
        </a:p>
      </dgm:t>
    </dgm:pt>
    <dgm:pt modelId="{5C2BA8EA-380E-4FEA-9237-5A0640610199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dirty="0">
              <a:solidFill>
                <a:srgbClr val="00B0F0"/>
              </a:solidFill>
            </a:rPr>
            <a:t>Exploratory Data Analysis</a:t>
          </a:r>
          <a:endParaRPr lang="en-US" dirty="0">
            <a:solidFill>
              <a:srgbClr val="00B0F0"/>
            </a:solidFill>
          </a:endParaRPr>
        </a:p>
      </dgm:t>
    </dgm:pt>
    <dgm:pt modelId="{6AE051AE-0795-4C66-933E-0284D2CAD318}" type="parTrans" cxnId="{2C3910EB-72EF-4A49-81F7-B41EA71343BD}">
      <dgm:prSet/>
      <dgm:spPr/>
      <dgm:t>
        <a:bodyPr/>
        <a:lstStyle/>
        <a:p>
          <a:endParaRPr lang="en-US"/>
        </a:p>
      </dgm:t>
    </dgm:pt>
    <dgm:pt modelId="{24A63919-CC06-45D9-A91A-71CC121F383A}" type="sibTrans" cxnId="{2C3910EB-72EF-4A49-81F7-B41EA71343BD}">
      <dgm:prSet/>
      <dgm:spPr/>
      <dgm:t>
        <a:bodyPr/>
        <a:lstStyle/>
        <a:p>
          <a:endParaRPr lang="en-US"/>
        </a:p>
      </dgm:t>
    </dgm:pt>
    <dgm:pt modelId="{A75EB043-B6F8-4C6F-AC0A-90758FDED25E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CA" sz="1200" b="0" i="0" dirty="0"/>
            <a:t>•</a:t>
          </a:r>
          <a:r>
            <a:rPr lang="en-GB" sz="1200" dirty="0"/>
            <a:t>Using SQL queries to manipulate and evaluate the SpaceX dataset</a:t>
          </a:r>
          <a:endParaRPr lang="en-US" sz="1200" dirty="0"/>
        </a:p>
      </dgm:t>
    </dgm:pt>
    <dgm:pt modelId="{DF726EAB-084C-4930-86A6-FD5AEF61EB3F}" type="parTrans" cxnId="{C856A87F-0931-44D9-B146-C1F4874D0BBA}">
      <dgm:prSet/>
      <dgm:spPr/>
      <dgm:t>
        <a:bodyPr/>
        <a:lstStyle/>
        <a:p>
          <a:endParaRPr lang="en-US"/>
        </a:p>
      </dgm:t>
    </dgm:pt>
    <dgm:pt modelId="{E57D24CC-09CF-4601-8A25-40FB6A9494C1}" type="sibTrans" cxnId="{C856A87F-0931-44D9-B146-C1F4874D0BBA}">
      <dgm:prSet/>
      <dgm:spPr/>
      <dgm:t>
        <a:bodyPr/>
        <a:lstStyle/>
        <a:p>
          <a:endParaRPr lang="en-US"/>
        </a:p>
      </dgm:t>
    </dgm:pt>
    <dgm:pt modelId="{7BD198C7-A8E2-49BF-AAF1-FD88CCB0313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200" dirty="0"/>
            <a:t>Using Pandas and Matplotlib to visualize relationships between variables, and determine patterns</a:t>
          </a:r>
          <a:endParaRPr lang="en-US" sz="1200" dirty="0"/>
        </a:p>
      </dgm:t>
    </dgm:pt>
    <dgm:pt modelId="{1B89B5C1-1970-4BB2-AE6E-61228391BC74}" type="parTrans" cxnId="{70E01C9E-85F9-4619-9037-84AFEADD5A37}">
      <dgm:prSet/>
      <dgm:spPr/>
      <dgm:t>
        <a:bodyPr/>
        <a:lstStyle/>
        <a:p>
          <a:endParaRPr lang="en-US"/>
        </a:p>
      </dgm:t>
    </dgm:pt>
    <dgm:pt modelId="{C717FC54-D392-4605-9471-E08E4A25219C}" type="sibTrans" cxnId="{70E01C9E-85F9-4619-9037-84AFEADD5A37}">
      <dgm:prSet/>
      <dgm:spPr/>
      <dgm:t>
        <a:bodyPr/>
        <a:lstStyle/>
        <a:p>
          <a:endParaRPr lang="en-US"/>
        </a:p>
      </dgm:t>
    </dgm:pt>
    <dgm:pt modelId="{BCAFFA75-D932-46B9-A1CA-456F04F65DB5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dirty="0">
              <a:solidFill>
                <a:srgbClr val="00B0F0"/>
              </a:solidFill>
            </a:rPr>
            <a:t>Interactive Visual Analytics</a:t>
          </a:r>
          <a:endParaRPr lang="en-US" dirty="0">
            <a:solidFill>
              <a:srgbClr val="00B0F0"/>
            </a:solidFill>
          </a:endParaRPr>
        </a:p>
      </dgm:t>
    </dgm:pt>
    <dgm:pt modelId="{180FE4F7-5317-403D-A021-ECAB34E71997}" type="parTrans" cxnId="{A4FB8776-D2AF-4911-977E-E74F6C4B107F}">
      <dgm:prSet/>
      <dgm:spPr/>
      <dgm:t>
        <a:bodyPr/>
        <a:lstStyle/>
        <a:p>
          <a:endParaRPr lang="en-US"/>
        </a:p>
      </dgm:t>
    </dgm:pt>
    <dgm:pt modelId="{83956FFA-898C-4094-BE02-8F5144C3808F}" type="sibTrans" cxnId="{A4FB8776-D2AF-4911-977E-E74F6C4B107F}">
      <dgm:prSet/>
      <dgm:spPr/>
      <dgm:t>
        <a:bodyPr/>
        <a:lstStyle/>
        <a:p>
          <a:endParaRPr lang="en-US"/>
        </a:p>
      </dgm:t>
    </dgm:pt>
    <dgm:pt modelId="{F00B0E2C-1151-4003-BD7B-5D98EA67F396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CA" sz="1200" b="0" i="0" dirty="0"/>
            <a:t>•</a:t>
          </a:r>
          <a:r>
            <a:rPr lang="en-GB" sz="1200" dirty="0"/>
            <a:t>Geospatial analytics using Folium</a:t>
          </a:r>
          <a:endParaRPr lang="en-US" sz="1200" dirty="0"/>
        </a:p>
      </dgm:t>
    </dgm:pt>
    <dgm:pt modelId="{492F92ED-02D5-4A17-B5D2-C861D4103E97}" type="parTrans" cxnId="{CB5E3CA5-6691-4B8D-9969-FF5B0093D09E}">
      <dgm:prSet/>
      <dgm:spPr/>
      <dgm:t>
        <a:bodyPr/>
        <a:lstStyle/>
        <a:p>
          <a:endParaRPr lang="en-US"/>
        </a:p>
      </dgm:t>
    </dgm:pt>
    <dgm:pt modelId="{1383C69B-BD34-459E-9636-8A47EC1F0E24}" type="sibTrans" cxnId="{CB5E3CA5-6691-4B8D-9969-FF5B0093D09E}">
      <dgm:prSet/>
      <dgm:spPr/>
      <dgm:t>
        <a:bodyPr/>
        <a:lstStyle/>
        <a:p>
          <a:endParaRPr lang="en-US"/>
        </a:p>
      </dgm:t>
    </dgm:pt>
    <dgm:pt modelId="{3CEA00EE-5761-460B-9F29-D2C1ED4D863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200" dirty="0"/>
            <a:t>Creating an interactive dashboard using </a:t>
          </a:r>
          <a:r>
            <a:rPr lang="en-GB" sz="1200" dirty="0" err="1">
              <a:solidFill>
                <a:srgbClr val="00B0F0"/>
              </a:solidFill>
            </a:rPr>
            <a:t>Plotly</a:t>
          </a:r>
          <a:r>
            <a:rPr lang="en-GB" sz="1200" dirty="0"/>
            <a:t> Dash</a:t>
          </a:r>
          <a:endParaRPr lang="en-US" sz="1200" dirty="0"/>
        </a:p>
      </dgm:t>
    </dgm:pt>
    <dgm:pt modelId="{E01FA829-B93D-4194-9725-2AA9D47F905B}" type="parTrans" cxnId="{319F3881-262B-4D3C-B3EA-78EBF706572F}">
      <dgm:prSet/>
      <dgm:spPr/>
      <dgm:t>
        <a:bodyPr/>
        <a:lstStyle/>
        <a:p>
          <a:endParaRPr lang="en-US"/>
        </a:p>
      </dgm:t>
    </dgm:pt>
    <dgm:pt modelId="{EE5196D3-0287-4192-B170-596DAA9FC6E1}" type="sibTrans" cxnId="{319F3881-262B-4D3C-B3EA-78EBF706572F}">
      <dgm:prSet/>
      <dgm:spPr/>
      <dgm:t>
        <a:bodyPr/>
        <a:lstStyle/>
        <a:p>
          <a:endParaRPr lang="en-US"/>
        </a:p>
      </dgm:t>
    </dgm:pt>
    <dgm:pt modelId="{B31D9F98-9112-49DE-9C11-A8D8ADDCF4F9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dirty="0">
              <a:solidFill>
                <a:srgbClr val="00B0F0"/>
              </a:solidFill>
            </a:rPr>
            <a:t>Data Modelling and Evaluation</a:t>
          </a:r>
          <a:endParaRPr lang="en-US" dirty="0">
            <a:solidFill>
              <a:srgbClr val="00B0F0"/>
            </a:solidFill>
          </a:endParaRPr>
        </a:p>
      </dgm:t>
    </dgm:pt>
    <dgm:pt modelId="{38E5219D-B751-44A4-87F0-2BFA4E4BFB4D}" type="parTrans" cxnId="{54A5FE8A-00BA-46E8-A62C-BDA71DC502F0}">
      <dgm:prSet/>
      <dgm:spPr/>
      <dgm:t>
        <a:bodyPr/>
        <a:lstStyle/>
        <a:p>
          <a:endParaRPr lang="en-US"/>
        </a:p>
      </dgm:t>
    </dgm:pt>
    <dgm:pt modelId="{81106EF6-3EA2-4088-8D70-E9A18DE7ABB3}" type="sibTrans" cxnId="{54A5FE8A-00BA-46E8-A62C-BDA71DC502F0}">
      <dgm:prSet/>
      <dgm:spPr/>
      <dgm:t>
        <a:bodyPr/>
        <a:lstStyle/>
        <a:p>
          <a:endParaRPr lang="en-US"/>
        </a:p>
      </dgm:t>
    </dgm:pt>
    <dgm:pt modelId="{76DDB1E2-4EB9-40EF-88BD-0A6B8B0ED35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CA" sz="1200" b="0" i="0" dirty="0"/>
            <a:t>•</a:t>
          </a:r>
          <a:r>
            <a:rPr lang="en-GB" sz="1200" dirty="0"/>
            <a:t>Using Scikit-Learn to:</a:t>
          </a:r>
          <a:endParaRPr lang="en-US" sz="1200" dirty="0"/>
        </a:p>
      </dgm:t>
    </dgm:pt>
    <dgm:pt modelId="{46832F53-09E4-49D8-90FC-7A54721D617C}" type="parTrans" cxnId="{FC165C3E-E20B-49A0-9E5F-C198C99B33CF}">
      <dgm:prSet/>
      <dgm:spPr/>
      <dgm:t>
        <a:bodyPr/>
        <a:lstStyle/>
        <a:p>
          <a:endParaRPr lang="en-US"/>
        </a:p>
      </dgm:t>
    </dgm:pt>
    <dgm:pt modelId="{1980E396-70BD-4EB4-BB32-D8FE166CB12C}" type="sibTrans" cxnId="{FC165C3E-E20B-49A0-9E5F-C198C99B33CF}">
      <dgm:prSet/>
      <dgm:spPr/>
      <dgm:t>
        <a:bodyPr/>
        <a:lstStyle/>
        <a:p>
          <a:endParaRPr lang="en-US"/>
        </a:p>
      </dgm:t>
    </dgm:pt>
    <dgm:pt modelId="{E4206D3E-B6E2-4DD5-B6AD-E23ECB9F7701}">
      <dgm:prSet custT="1"/>
      <dgm:spPr/>
      <dgm:t>
        <a:bodyPr/>
        <a:lstStyle/>
        <a:p>
          <a:r>
            <a:rPr lang="en-GB" sz="1200" dirty="0"/>
            <a:t>Pre-process (standardize) the data</a:t>
          </a:r>
          <a:endParaRPr lang="en-US" sz="1200" dirty="0"/>
        </a:p>
      </dgm:t>
    </dgm:pt>
    <dgm:pt modelId="{AE0235F8-BEF6-41D6-A41B-25DA0C0AAEEE}" type="parTrans" cxnId="{61512FE9-A21B-4EE2-AA2B-72493E550614}">
      <dgm:prSet/>
      <dgm:spPr/>
      <dgm:t>
        <a:bodyPr/>
        <a:lstStyle/>
        <a:p>
          <a:endParaRPr lang="en-US"/>
        </a:p>
      </dgm:t>
    </dgm:pt>
    <dgm:pt modelId="{F21018F0-3224-4D94-89C5-1013AF23E765}" type="sibTrans" cxnId="{61512FE9-A21B-4EE2-AA2B-72493E550614}">
      <dgm:prSet/>
      <dgm:spPr/>
      <dgm:t>
        <a:bodyPr/>
        <a:lstStyle/>
        <a:p>
          <a:endParaRPr lang="en-US"/>
        </a:p>
      </dgm:t>
    </dgm:pt>
    <dgm:pt modelId="{6E2D924E-85F9-4A37-9A78-99BF656B72D7}">
      <dgm:prSet custT="1"/>
      <dgm:spPr/>
      <dgm:t>
        <a:bodyPr/>
        <a:lstStyle/>
        <a:p>
          <a:r>
            <a:rPr lang="en-GB" sz="1200" dirty="0"/>
            <a:t>Split the data into training and testing data using </a:t>
          </a:r>
          <a:r>
            <a:rPr lang="en-GB" sz="1200" dirty="0" err="1">
              <a:solidFill>
                <a:srgbClr val="00B0F0"/>
              </a:solidFill>
            </a:rPr>
            <a:t>train_test_split</a:t>
          </a:r>
          <a:endParaRPr lang="en-US" sz="1200" dirty="0">
            <a:solidFill>
              <a:srgbClr val="00B0F0"/>
            </a:solidFill>
          </a:endParaRPr>
        </a:p>
      </dgm:t>
    </dgm:pt>
    <dgm:pt modelId="{EE29DC33-46AD-4B09-9A44-50B931E4683C}" type="parTrans" cxnId="{56816E61-7FD0-4FE3-85FB-CF1625812F94}">
      <dgm:prSet/>
      <dgm:spPr/>
      <dgm:t>
        <a:bodyPr/>
        <a:lstStyle/>
        <a:p>
          <a:endParaRPr lang="en-US"/>
        </a:p>
      </dgm:t>
    </dgm:pt>
    <dgm:pt modelId="{1EE7374D-0EF0-4F7B-B72D-5F099358035E}" type="sibTrans" cxnId="{56816E61-7FD0-4FE3-85FB-CF1625812F94}">
      <dgm:prSet/>
      <dgm:spPr/>
      <dgm:t>
        <a:bodyPr/>
        <a:lstStyle/>
        <a:p>
          <a:endParaRPr lang="en-US"/>
        </a:p>
      </dgm:t>
    </dgm:pt>
    <dgm:pt modelId="{03B2919D-7947-4813-8A28-4E5A4CCE8C56}">
      <dgm:prSet custT="1"/>
      <dgm:spPr/>
      <dgm:t>
        <a:bodyPr/>
        <a:lstStyle/>
        <a:p>
          <a:r>
            <a:rPr lang="en-GB" sz="1200" dirty="0"/>
            <a:t>Train different classification models</a:t>
          </a:r>
          <a:endParaRPr lang="en-US" sz="1200" dirty="0"/>
        </a:p>
      </dgm:t>
    </dgm:pt>
    <dgm:pt modelId="{EB5AE268-F1E0-470F-B2A2-42F9E1DCA7E3}" type="parTrans" cxnId="{3DC6E535-DAE0-4965-BBB0-8EBD7D209ADB}">
      <dgm:prSet/>
      <dgm:spPr/>
      <dgm:t>
        <a:bodyPr/>
        <a:lstStyle/>
        <a:p>
          <a:endParaRPr lang="en-US"/>
        </a:p>
      </dgm:t>
    </dgm:pt>
    <dgm:pt modelId="{EEE17432-C418-47E0-8122-42D5E4FA8AAA}" type="sibTrans" cxnId="{3DC6E535-DAE0-4965-BBB0-8EBD7D209ADB}">
      <dgm:prSet/>
      <dgm:spPr/>
      <dgm:t>
        <a:bodyPr/>
        <a:lstStyle/>
        <a:p>
          <a:endParaRPr lang="en-US"/>
        </a:p>
      </dgm:t>
    </dgm:pt>
    <dgm:pt modelId="{78B8CEC3-DA8A-4978-9416-E9E7213E2E77}">
      <dgm:prSet custT="1"/>
      <dgm:spPr/>
      <dgm:t>
        <a:bodyPr/>
        <a:lstStyle/>
        <a:p>
          <a:r>
            <a:rPr lang="en-GB" sz="1200" dirty="0"/>
            <a:t>Find hyperparameters using </a:t>
          </a:r>
          <a:r>
            <a:rPr lang="en-GB" sz="1200" dirty="0" err="1">
              <a:solidFill>
                <a:srgbClr val="00B0F0"/>
              </a:solidFill>
            </a:rPr>
            <a:t>GridSearchCV</a:t>
          </a:r>
          <a:endParaRPr lang="en-US" sz="1200" dirty="0">
            <a:solidFill>
              <a:srgbClr val="00B0F0"/>
            </a:solidFill>
          </a:endParaRPr>
        </a:p>
      </dgm:t>
    </dgm:pt>
    <dgm:pt modelId="{D7FF150F-08BD-470E-A57E-906E062FA14E}" type="parTrans" cxnId="{71C95895-D94E-4D54-8782-90D3242F7A02}">
      <dgm:prSet/>
      <dgm:spPr/>
      <dgm:t>
        <a:bodyPr/>
        <a:lstStyle/>
        <a:p>
          <a:endParaRPr lang="en-US"/>
        </a:p>
      </dgm:t>
    </dgm:pt>
    <dgm:pt modelId="{5997874B-73D9-4E44-A3C2-D20C21A72DBB}" type="sibTrans" cxnId="{71C95895-D94E-4D54-8782-90D3242F7A02}">
      <dgm:prSet/>
      <dgm:spPr/>
      <dgm:t>
        <a:bodyPr/>
        <a:lstStyle/>
        <a:p>
          <a:endParaRPr lang="en-US"/>
        </a:p>
      </dgm:t>
    </dgm:pt>
    <dgm:pt modelId="{91758BF0-6C32-428B-8398-FB163814D343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200" dirty="0"/>
            <a:t>Plotting confusion matrices for each classification model</a:t>
          </a:r>
          <a:endParaRPr lang="en-US" sz="1200" dirty="0"/>
        </a:p>
      </dgm:t>
    </dgm:pt>
    <dgm:pt modelId="{C31449FD-1784-4E23-96D6-7CE5024C2596}" type="parTrans" cxnId="{73B5E5CD-30CE-462A-8B1F-6CDD01CCA7B4}">
      <dgm:prSet/>
      <dgm:spPr/>
      <dgm:t>
        <a:bodyPr/>
        <a:lstStyle/>
        <a:p>
          <a:endParaRPr lang="en-US"/>
        </a:p>
      </dgm:t>
    </dgm:pt>
    <dgm:pt modelId="{CF3ABB19-0841-4132-A3CA-BA956C293261}" type="sibTrans" cxnId="{73B5E5CD-30CE-462A-8B1F-6CDD01CCA7B4}">
      <dgm:prSet/>
      <dgm:spPr/>
      <dgm:t>
        <a:bodyPr/>
        <a:lstStyle/>
        <a:p>
          <a:endParaRPr lang="en-US"/>
        </a:p>
      </dgm:t>
    </dgm:pt>
    <dgm:pt modelId="{BFFEC91E-4B23-4B5B-B072-511A8A0E8706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200" dirty="0"/>
            <a:t>Assessing the accuracy of each classification model</a:t>
          </a:r>
          <a:endParaRPr lang="en-US" sz="1200" dirty="0"/>
        </a:p>
      </dgm:t>
    </dgm:pt>
    <dgm:pt modelId="{CA8A4C00-DBA3-40E4-A722-B7550214887B}" type="parTrans" cxnId="{0E0EEFFB-C3A6-4456-9E75-E9ABAA0C7436}">
      <dgm:prSet/>
      <dgm:spPr/>
      <dgm:t>
        <a:bodyPr/>
        <a:lstStyle/>
        <a:p>
          <a:endParaRPr lang="en-US"/>
        </a:p>
      </dgm:t>
    </dgm:pt>
    <dgm:pt modelId="{DFFCF274-9E55-48D6-97DC-E026334854D5}" type="sibTrans" cxnId="{0E0EEFFB-C3A6-4456-9E75-E9ABAA0C7436}">
      <dgm:prSet/>
      <dgm:spPr/>
      <dgm:t>
        <a:bodyPr/>
        <a:lstStyle/>
        <a:p>
          <a:endParaRPr lang="en-US"/>
        </a:p>
      </dgm:t>
    </dgm:pt>
    <dgm:pt modelId="{E7928D17-C701-443F-9A80-110351B6B04A}" type="pres">
      <dgm:prSet presAssocID="{52749D51-1F0F-42C3-AE1F-1A84EC42DA6E}" presName="root" presStyleCnt="0">
        <dgm:presLayoutVars>
          <dgm:dir/>
          <dgm:resizeHandles val="exact"/>
        </dgm:presLayoutVars>
      </dgm:prSet>
      <dgm:spPr/>
    </dgm:pt>
    <dgm:pt modelId="{3D0320A9-A517-4F0C-8795-FF1176387D23}" type="pres">
      <dgm:prSet presAssocID="{D1D27BBF-67BA-46F1-BAEA-C71DFF42C8A6}" presName="compNode" presStyleCnt="0"/>
      <dgm:spPr/>
    </dgm:pt>
    <dgm:pt modelId="{63DC5954-6691-4801-BD42-B835273CC8BF}" type="pres">
      <dgm:prSet presAssocID="{D1D27BBF-67BA-46F1-BAEA-C71DFF42C8A6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EA4B1ABA-ADBC-4AFB-9BE3-EC8F0B8395CB}" type="pres">
      <dgm:prSet presAssocID="{D1D27BBF-67BA-46F1-BAEA-C71DFF42C8A6}" presName="iconSpace" presStyleCnt="0"/>
      <dgm:spPr/>
    </dgm:pt>
    <dgm:pt modelId="{CC684D8E-20A3-4F05-A699-C4F87A67832A}" type="pres">
      <dgm:prSet presAssocID="{D1D27BBF-67BA-46F1-BAEA-C71DFF42C8A6}" presName="parTx" presStyleLbl="revTx" presStyleIdx="0" presStyleCnt="10">
        <dgm:presLayoutVars>
          <dgm:chMax val="0"/>
          <dgm:chPref val="0"/>
        </dgm:presLayoutVars>
      </dgm:prSet>
      <dgm:spPr/>
    </dgm:pt>
    <dgm:pt modelId="{2991B6C8-BAB6-49B5-8CA0-9D7AF06C5F99}" type="pres">
      <dgm:prSet presAssocID="{D1D27BBF-67BA-46F1-BAEA-C71DFF42C8A6}" presName="txSpace" presStyleCnt="0"/>
      <dgm:spPr/>
    </dgm:pt>
    <dgm:pt modelId="{F219857C-43B5-43A6-9845-9BB4A955E7C5}" type="pres">
      <dgm:prSet presAssocID="{D1D27BBF-67BA-46F1-BAEA-C71DFF42C8A6}" presName="desTx" presStyleLbl="revTx" presStyleIdx="1" presStyleCnt="10">
        <dgm:presLayoutVars/>
      </dgm:prSet>
      <dgm:spPr/>
    </dgm:pt>
    <dgm:pt modelId="{C6555FAE-356C-423F-9211-2602BE60C0C4}" type="pres">
      <dgm:prSet presAssocID="{DB824E0A-D820-47F6-82FF-3A124960E5B6}" presName="sibTrans" presStyleCnt="0"/>
      <dgm:spPr/>
    </dgm:pt>
    <dgm:pt modelId="{BF43B16C-696E-4CCE-A06F-54B0BFCE1D9D}" type="pres">
      <dgm:prSet presAssocID="{64F2778C-C040-4F5C-8B5F-4726E22A9864}" presName="compNode" presStyleCnt="0"/>
      <dgm:spPr/>
    </dgm:pt>
    <dgm:pt modelId="{15202D98-5E9A-4AD7-A240-8879E80C32F9}" type="pres">
      <dgm:prSet presAssocID="{64F2778C-C040-4F5C-8B5F-4726E22A9864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Table"/>
        </a:ext>
      </dgm:extLst>
    </dgm:pt>
    <dgm:pt modelId="{3D4DDC6B-F397-4523-BC37-FEB40B3DC4FB}" type="pres">
      <dgm:prSet presAssocID="{64F2778C-C040-4F5C-8B5F-4726E22A9864}" presName="iconSpace" presStyleCnt="0"/>
      <dgm:spPr/>
    </dgm:pt>
    <dgm:pt modelId="{D101B5E0-D440-41C2-9AED-C4BE829E6CD6}" type="pres">
      <dgm:prSet presAssocID="{64F2778C-C040-4F5C-8B5F-4726E22A9864}" presName="parTx" presStyleLbl="revTx" presStyleIdx="2" presStyleCnt="10">
        <dgm:presLayoutVars>
          <dgm:chMax val="0"/>
          <dgm:chPref val="0"/>
        </dgm:presLayoutVars>
      </dgm:prSet>
      <dgm:spPr/>
    </dgm:pt>
    <dgm:pt modelId="{F35C726C-B395-4F5B-B19A-DF587FBDC2BC}" type="pres">
      <dgm:prSet presAssocID="{64F2778C-C040-4F5C-8B5F-4726E22A9864}" presName="txSpace" presStyleCnt="0"/>
      <dgm:spPr/>
    </dgm:pt>
    <dgm:pt modelId="{CF7B8E45-502F-4EA9-A453-619632A5DAFF}" type="pres">
      <dgm:prSet presAssocID="{64F2778C-C040-4F5C-8B5F-4726E22A9864}" presName="desTx" presStyleLbl="revTx" presStyleIdx="3" presStyleCnt="10">
        <dgm:presLayoutVars/>
      </dgm:prSet>
      <dgm:spPr/>
    </dgm:pt>
    <dgm:pt modelId="{3B301EA8-31F2-4800-9772-6B9414929451}" type="pres">
      <dgm:prSet presAssocID="{6C5797F2-701D-4BE6-AB46-5C04DE9E32B2}" presName="sibTrans" presStyleCnt="0"/>
      <dgm:spPr/>
    </dgm:pt>
    <dgm:pt modelId="{A74E7D34-D9EF-4E8B-B20F-35C06A91C72F}" type="pres">
      <dgm:prSet presAssocID="{5C2BA8EA-380E-4FEA-9237-5A0640610199}" presName="compNode" presStyleCnt="0"/>
      <dgm:spPr/>
    </dgm:pt>
    <dgm:pt modelId="{3652DE68-44BD-46E3-950E-3DB6ADDEC30A}" type="pres">
      <dgm:prSet presAssocID="{5C2BA8EA-380E-4FEA-9237-5A0640610199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tatistics"/>
        </a:ext>
      </dgm:extLst>
    </dgm:pt>
    <dgm:pt modelId="{6B0C106A-472A-4A85-96D9-02A9A7CDC584}" type="pres">
      <dgm:prSet presAssocID="{5C2BA8EA-380E-4FEA-9237-5A0640610199}" presName="iconSpace" presStyleCnt="0"/>
      <dgm:spPr/>
    </dgm:pt>
    <dgm:pt modelId="{E3CC15CF-E827-495E-BE91-D0A28C5B28D8}" type="pres">
      <dgm:prSet presAssocID="{5C2BA8EA-380E-4FEA-9237-5A0640610199}" presName="parTx" presStyleLbl="revTx" presStyleIdx="4" presStyleCnt="10">
        <dgm:presLayoutVars>
          <dgm:chMax val="0"/>
          <dgm:chPref val="0"/>
        </dgm:presLayoutVars>
      </dgm:prSet>
      <dgm:spPr/>
    </dgm:pt>
    <dgm:pt modelId="{47763F51-1050-4501-8E60-14806FFFE62B}" type="pres">
      <dgm:prSet presAssocID="{5C2BA8EA-380E-4FEA-9237-5A0640610199}" presName="txSpace" presStyleCnt="0"/>
      <dgm:spPr/>
    </dgm:pt>
    <dgm:pt modelId="{513515FF-BCC5-493C-AE46-D39D4DFCB142}" type="pres">
      <dgm:prSet presAssocID="{5C2BA8EA-380E-4FEA-9237-5A0640610199}" presName="desTx" presStyleLbl="revTx" presStyleIdx="5" presStyleCnt="10">
        <dgm:presLayoutVars/>
      </dgm:prSet>
      <dgm:spPr/>
    </dgm:pt>
    <dgm:pt modelId="{CDFC8BCE-0348-4E49-8D09-EF27E65357C6}" type="pres">
      <dgm:prSet presAssocID="{24A63919-CC06-45D9-A91A-71CC121F383A}" presName="sibTrans" presStyleCnt="0"/>
      <dgm:spPr/>
    </dgm:pt>
    <dgm:pt modelId="{707FD493-8F32-43A0-AFC5-AC47D5BE6AE1}" type="pres">
      <dgm:prSet presAssocID="{BCAFFA75-D932-46B9-A1CA-456F04F65DB5}" presName="compNode" presStyleCnt="0"/>
      <dgm:spPr/>
    </dgm:pt>
    <dgm:pt modelId="{41908408-571F-46F3-8A9C-CCE13C672B79}" type="pres">
      <dgm:prSet presAssocID="{BCAFFA75-D932-46B9-A1CA-456F04F65DB5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r chart"/>
        </a:ext>
      </dgm:extLst>
    </dgm:pt>
    <dgm:pt modelId="{F24FAF3B-739E-4A50-90D4-BBFEE2CD27BB}" type="pres">
      <dgm:prSet presAssocID="{BCAFFA75-D932-46B9-A1CA-456F04F65DB5}" presName="iconSpace" presStyleCnt="0"/>
      <dgm:spPr/>
    </dgm:pt>
    <dgm:pt modelId="{84D937D5-EBCC-4F69-B129-11568635AFC3}" type="pres">
      <dgm:prSet presAssocID="{BCAFFA75-D932-46B9-A1CA-456F04F65DB5}" presName="parTx" presStyleLbl="revTx" presStyleIdx="6" presStyleCnt="10">
        <dgm:presLayoutVars>
          <dgm:chMax val="0"/>
          <dgm:chPref val="0"/>
        </dgm:presLayoutVars>
      </dgm:prSet>
      <dgm:spPr/>
    </dgm:pt>
    <dgm:pt modelId="{A97D84D4-871B-472E-8E3B-53AD893807F5}" type="pres">
      <dgm:prSet presAssocID="{BCAFFA75-D932-46B9-A1CA-456F04F65DB5}" presName="txSpace" presStyleCnt="0"/>
      <dgm:spPr/>
    </dgm:pt>
    <dgm:pt modelId="{55430ECE-ADBE-4255-81E5-1400B5D197C9}" type="pres">
      <dgm:prSet presAssocID="{BCAFFA75-D932-46B9-A1CA-456F04F65DB5}" presName="desTx" presStyleLbl="revTx" presStyleIdx="7" presStyleCnt="10">
        <dgm:presLayoutVars/>
      </dgm:prSet>
      <dgm:spPr/>
    </dgm:pt>
    <dgm:pt modelId="{D6B9F1DE-2338-4B8D-AA33-0D5E95BA99AA}" type="pres">
      <dgm:prSet presAssocID="{83956FFA-898C-4094-BE02-8F5144C3808F}" presName="sibTrans" presStyleCnt="0"/>
      <dgm:spPr/>
    </dgm:pt>
    <dgm:pt modelId="{EB5825BC-C2B5-40C0-BB76-E49A80B45B9C}" type="pres">
      <dgm:prSet presAssocID="{B31D9F98-9112-49DE-9C11-A8D8ADDCF4F9}" presName="compNode" presStyleCnt="0"/>
      <dgm:spPr/>
    </dgm:pt>
    <dgm:pt modelId="{BECFF55A-1CAD-4224-8900-525EB3512CA0}" type="pres">
      <dgm:prSet presAssocID="{B31D9F98-9112-49DE-9C11-A8D8ADDCF4F9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1E36BFD3-A7D2-4255-891C-F2C1C8FDFCF8}" type="pres">
      <dgm:prSet presAssocID="{B31D9F98-9112-49DE-9C11-A8D8ADDCF4F9}" presName="iconSpace" presStyleCnt="0"/>
      <dgm:spPr/>
    </dgm:pt>
    <dgm:pt modelId="{A89A8DD7-BE7D-4BB6-AB21-E17A0A3A16E3}" type="pres">
      <dgm:prSet presAssocID="{B31D9F98-9112-49DE-9C11-A8D8ADDCF4F9}" presName="parTx" presStyleLbl="revTx" presStyleIdx="8" presStyleCnt="10">
        <dgm:presLayoutVars>
          <dgm:chMax val="0"/>
          <dgm:chPref val="0"/>
        </dgm:presLayoutVars>
      </dgm:prSet>
      <dgm:spPr/>
    </dgm:pt>
    <dgm:pt modelId="{4DB830D0-3325-4B4C-A2EC-FEC84EFE8331}" type="pres">
      <dgm:prSet presAssocID="{B31D9F98-9112-49DE-9C11-A8D8ADDCF4F9}" presName="txSpace" presStyleCnt="0"/>
      <dgm:spPr/>
    </dgm:pt>
    <dgm:pt modelId="{91405201-41DF-404F-913D-3F1B8A5E35BB}" type="pres">
      <dgm:prSet presAssocID="{B31D9F98-9112-49DE-9C11-A8D8ADDCF4F9}" presName="desTx" presStyleLbl="revTx" presStyleIdx="9" presStyleCnt="10">
        <dgm:presLayoutVars/>
      </dgm:prSet>
      <dgm:spPr/>
    </dgm:pt>
  </dgm:ptLst>
  <dgm:cxnLst>
    <dgm:cxn modelId="{C1767400-F18D-4A03-B9C0-D873BF6B302B}" type="presOf" srcId="{6E2D924E-85F9-4A37-9A78-99BF656B72D7}" destId="{91405201-41DF-404F-913D-3F1B8A5E35BB}" srcOrd="0" destOrd="2" presId="urn:microsoft.com/office/officeart/2018/5/layout/CenteredIconLabelDescriptionList"/>
    <dgm:cxn modelId="{3BA5F50F-7948-473C-A197-0606E811CD7B}" srcId="{64F2778C-C040-4F5C-8B5F-4726E22A9864}" destId="{AB3FDD17-3C79-4F97-AAE0-54C3E62E450D}" srcOrd="2" destOrd="0" parTransId="{8762C26F-689F-411F-AC6D-D77F4AB01F39}" sibTransId="{54A9BC51-AB9B-42D6-8B63-9CB121F12B9B}"/>
    <dgm:cxn modelId="{552A7616-2E63-4B09-8415-E96B2F627699}" type="presOf" srcId="{F00B0E2C-1151-4003-BD7B-5D98EA67F396}" destId="{55430ECE-ADBE-4255-81E5-1400B5D197C9}" srcOrd="0" destOrd="0" presId="urn:microsoft.com/office/officeart/2018/5/layout/CenteredIconLabelDescriptionList"/>
    <dgm:cxn modelId="{A2313E1B-D218-4D41-814A-770117801424}" type="presOf" srcId="{76DDB1E2-4EB9-40EF-88BD-0A6B8B0ED354}" destId="{91405201-41DF-404F-913D-3F1B8A5E35BB}" srcOrd="0" destOrd="0" presId="urn:microsoft.com/office/officeart/2018/5/layout/CenteredIconLabelDescriptionList"/>
    <dgm:cxn modelId="{257D9D1C-BC03-4941-A873-712AA079558D}" type="presOf" srcId="{7C30E88D-6C8E-4A96-92BD-502D79F75D05}" destId="{CF7B8E45-502F-4EA9-A453-619632A5DAFF}" srcOrd="0" destOrd="1" presId="urn:microsoft.com/office/officeart/2018/5/layout/CenteredIconLabelDescriptionList"/>
    <dgm:cxn modelId="{48125B22-53AD-45B2-91C9-0495DBF0FCC7}" type="presOf" srcId="{015F001D-06F0-4A0D-9377-16AD955453F7}" destId="{CF7B8E45-502F-4EA9-A453-619632A5DAFF}" srcOrd="0" destOrd="2" presId="urn:microsoft.com/office/officeart/2018/5/layout/CenteredIconLabelDescriptionList"/>
    <dgm:cxn modelId="{3DC6E535-DAE0-4965-BBB0-8EBD7D209ADB}" srcId="{76DDB1E2-4EB9-40EF-88BD-0A6B8B0ED354}" destId="{03B2919D-7947-4813-8A28-4E5A4CCE8C56}" srcOrd="2" destOrd="0" parTransId="{EB5AE268-F1E0-470F-B2A2-42F9E1DCA7E3}" sibTransId="{EEE17432-C418-47E0-8122-42D5E4FA8AAA}"/>
    <dgm:cxn modelId="{FC165C3E-E20B-49A0-9E5F-C198C99B33CF}" srcId="{B31D9F98-9112-49DE-9C11-A8D8ADDCF4F9}" destId="{76DDB1E2-4EB9-40EF-88BD-0A6B8B0ED354}" srcOrd="0" destOrd="0" parTransId="{46832F53-09E4-49D8-90FC-7A54721D617C}" sibTransId="{1980E396-70BD-4EB4-BB32-D8FE166CB12C}"/>
    <dgm:cxn modelId="{6884245B-43A3-4B3F-A8DE-3A446D2BAE98}" srcId="{7C30E88D-6C8E-4A96-92BD-502D79F75D05}" destId="{F6903F48-7895-4618-B5EC-905C8C35ADE1}" srcOrd="2" destOrd="0" parTransId="{94097229-46CA-411A-9341-6F64525B94B1}" sibTransId="{AD23E784-4865-4E59-8CE9-02812201BD00}"/>
    <dgm:cxn modelId="{C1ACF45D-62CC-4268-8C6C-0E6307F09EA6}" srcId="{7C30E88D-6C8E-4A96-92BD-502D79F75D05}" destId="{61AF7253-59FC-4DF8-9D42-E3DAD7525842}" srcOrd="1" destOrd="0" parTransId="{4143B29D-3700-48AE-AF70-8F7EBC252D7C}" sibTransId="{3DE0562E-6FFB-40CC-9B97-888157E7004E}"/>
    <dgm:cxn modelId="{1C95C760-9E4C-4CFF-A073-E177AD88F70D}" type="presOf" srcId="{BFFEC91E-4B23-4B5B-B072-511A8A0E8706}" destId="{91405201-41DF-404F-913D-3F1B8A5E35BB}" srcOrd="0" destOrd="6" presId="urn:microsoft.com/office/officeart/2018/5/layout/CenteredIconLabelDescriptionList"/>
    <dgm:cxn modelId="{56816E61-7FD0-4FE3-85FB-CF1625812F94}" srcId="{76DDB1E2-4EB9-40EF-88BD-0A6B8B0ED354}" destId="{6E2D924E-85F9-4A37-9A78-99BF656B72D7}" srcOrd="1" destOrd="0" parTransId="{EE29DC33-46AD-4B09-9A44-50B931E4683C}" sibTransId="{1EE7374D-0EF0-4F7B-B72D-5F099358035E}"/>
    <dgm:cxn modelId="{8F625662-46CF-4B56-A87A-AB94A76D3262}" srcId="{AB3FDD17-3C79-4F97-AAE0-54C3E62E450D}" destId="{C913FF9B-B455-458B-AB24-60CA542577E9}" srcOrd="1" destOrd="0" parTransId="{30670A6A-700A-40C5-B521-1E1E0EC65291}" sibTransId="{35839068-C6F6-4D61-B281-1B49E57FC0EF}"/>
    <dgm:cxn modelId="{D5B8C562-4EB5-4783-8E11-E9C33D9574F7}" srcId="{7C30E88D-6C8E-4A96-92BD-502D79F75D05}" destId="{015F001D-06F0-4A0D-9377-16AD955453F7}" srcOrd="0" destOrd="0" parTransId="{BE24E4DB-FDE9-4C45-BBE1-6F31707AE7B8}" sibTransId="{8A8BE398-366A-4574-B500-EB04F1F35ED9}"/>
    <dgm:cxn modelId="{AFFC7F65-E3F9-4923-8AF0-B30BDD419DFE}" type="presOf" srcId="{BCAFFA75-D932-46B9-A1CA-456F04F65DB5}" destId="{84D937D5-EBCC-4F69-B129-11568635AFC3}" srcOrd="0" destOrd="0" presId="urn:microsoft.com/office/officeart/2018/5/layout/CenteredIconLabelDescriptionList"/>
    <dgm:cxn modelId="{87304466-C403-49E1-94F4-36DE6B8981A8}" type="presOf" srcId="{91758BF0-6C32-428B-8398-FB163814D343}" destId="{91405201-41DF-404F-913D-3F1B8A5E35BB}" srcOrd="0" destOrd="5" presId="urn:microsoft.com/office/officeart/2018/5/layout/CenteredIconLabelDescriptionList"/>
    <dgm:cxn modelId="{3905E375-5E55-4D87-8462-AAC8F2D290F2}" srcId="{D1D27BBF-67BA-46F1-BAEA-C71DFF42C8A6}" destId="{995738DF-3ED2-4A5F-9972-CB16D81EC5CC}" srcOrd="0" destOrd="0" parTransId="{57B60A9D-A8C1-4565-B402-F827603E9DB5}" sibTransId="{4FE97E12-8CD9-4BF3-AFAD-422FDFBDCFB6}"/>
    <dgm:cxn modelId="{A4FB8776-D2AF-4911-977E-E74F6C4B107F}" srcId="{52749D51-1F0F-42C3-AE1F-1A84EC42DA6E}" destId="{BCAFFA75-D932-46B9-A1CA-456F04F65DB5}" srcOrd="3" destOrd="0" parTransId="{180FE4F7-5317-403D-A021-ECAB34E71997}" sibTransId="{83956FFA-898C-4094-BE02-8F5144C3808F}"/>
    <dgm:cxn modelId="{CDA5CF77-CECC-41C5-8B3E-5984B1DC95C5}" type="presOf" srcId="{F0B5272B-40BD-4E1D-AB24-E87B54CE6518}" destId="{CF7B8E45-502F-4EA9-A453-619632A5DAFF}" srcOrd="0" destOrd="6" presId="urn:microsoft.com/office/officeart/2018/5/layout/CenteredIconLabelDescriptionList"/>
    <dgm:cxn modelId="{8265AF7A-510A-4D21-8ED7-24597CF294DB}" type="presOf" srcId="{C913FF9B-B455-458B-AB24-60CA542577E9}" destId="{CF7B8E45-502F-4EA9-A453-619632A5DAFF}" srcOrd="0" destOrd="7" presId="urn:microsoft.com/office/officeart/2018/5/layout/CenteredIconLabelDescriptionList"/>
    <dgm:cxn modelId="{C856A87F-0931-44D9-B146-C1F4874D0BBA}" srcId="{5C2BA8EA-380E-4FEA-9237-5A0640610199}" destId="{A75EB043-B6F8-4C6F-AC0A-90758FDED25E}" srcOrd="0" destOrd="0" parTransId="{DF726EAB-084C-4930-86A6-FD5AEF61EB3F}" sibTransId="{E57D24CC-09CF-4601-8A25-40FB6A9494C1}"/>
    <dgm:cxn modelId="{319F3881-262B-4D3C-B3EA-78EBF706572F}" srcId="{BCAFFA75-D932-46B9-A1CA-456F04F65DB5}" destId="{3CEA00EE-5761-460B-9F29-D2C1ED4D8634}" srcOrd="1" destOrd="0" parTransId="{E01FA829-B93D-4194-9725-2AA9D47F905B}" sibTransId="{EE5196D3-0287-4192-B170-596DAA9FC6E1}"/>
    <dgm:cxn modelId="{0FF54B8A-BD30-41B6-9D39-67AD139930F3}" type="presOf" srcId="{D1D27BBF-67BA-46F1-BAEA-C71DFF42C8A6}" destId="{CC684D8E-20A3-4F05-A699-C4F87A67832A}" srcOrd="0" destOrd="0" presId="urn:microsoft.com/office/officeart/2018/5/layout/CenteredIconLabelDescriptionList"/>
    <dgm:cxn modelId="{54A5FE8A-00BA-46E8-A62C-BDA71DC502F0}" srcId="{52749D51-1F0F-42C3-AE1F-1A84EC42DA6E}" destId="{B31D9F98-9112-49DE-9C11-A8D8ADDCF4F9}" srcOrd="4" destOrd="0" parTransId="{38E5219D-B751-44A4-87F0-2BFA4E4BFB4D}" sibTransId="{81106EF6-3EA2-4088-8D70-E9A18DE7ABB3}"/>
    <dgm:cxn modelId="{00ADB88D-5870-496E-A723-9C5D3C5876D9}" type="presOf" srcId="{B31D9F98-9112-49DE-9C11-A8D8ADDCF4F9}" destId="{A89A8DD7-BE7D-4BB6-AB21-E17A0A3A16E3}" srcOrd="0" destOrd="0" presId="urn:microsoft.com/office/officeart/2018/5/layout/CenteredIconLabelDescriptionList"/>
    <dgm:cxn modelId="{71C95895-D94E-4D54-8782-90D3242F7A02}" srcId="{76DDB1E2-4EB9-40EF-88BD-0A6B8B0ED354}" destId="{78B8CEC3-DA8A-4978-9416-E9E7213E2E77}" srcOrd="3" destOrd="0" parTransId="{D7FF150F-08BD-470E-A57E-906E062FA14E}" sibTransId="{5997874B-73D9-4E44-A3C2-D20C21A72DBB}"/>
    <dgm:cxn modelId="{D444B19C-5546-4E3A-A2FD-6C9255104B1C}" type="presOf" srcId="{78B8CEC3-DA8A-4978-9416-E9E7213E2E77}" destId="{91405201-41DF-404F-913D-3F1B8A5E35BB}" srcOrd="0" destOrd="4" presId="urn:microsoft.com/office/officeart/2018/5/layout/CenteredIconLabelDescriptionList"/>
    <dgm:cxn modelId="{23F3E39D-D597-469F-9273-2F9A60FC7068}" type="presOf" srcId="{AB3FDD17-3C79-4F97-AAE0-54C3E62E450D}" destId="{CF7B8E45-502F-4EA9-A453-619632A5DAFF}" srcOrd="0" destOrd="5" presId="urn:microsoft.com/office/officeart/2018/5/layout/CenteredIconLabelDescriptionList"/>
    <dgm:cxn modelId="{70E01C9E-85F9-4619-9037-84AFEADD5A37}" srcId="{5C2BA8EA-380E-4FEA-9237-5A0640610199}" destId="{7BD198C7-A8E2-49BF-AAF1-FD88CCB03134}" srcOrd="1" destOrd="0" parTransId="{1B89B5C1-1970-4BB2-AE6E-61228391BC74}" sibTransId="{C717FC54-D392-4605-9471-E08E4A25219C}"/>
    <dgm:cxn modelId="{E59D3AA0-882C-4A1E-95D9-523B76724992}" type="presOf" srcId="{995738DF-3ED2-4A5F-9972-CB16D81EC5CC}" destId="{F219857C-43B5-43A6-9845-9BB4A955E7C5}" srcOrd="0" destOrd="0" presId="urn:microsoft.com/office/officeart/2018/5/layout/CenteredIconLabelDescriptionList"/>
    <dgm:cxn modelId="{CB5E3CA5-6691-4B8D-9969-FF5B0093D09E}" srcId="{BCAFFA75-D932-46B9-A1CA-456F04F65DB5}" destId="{F00B0E2C-1151-4003-BD7B-5D98EA67F396}" srcOrd="0" destOrd="0" parTransId="{492F92ED-02D5-4A17-B5D2-C861D4103E97}" sibTransId="{1383C69B-BD34-459E-9636-8A47EC1F0E24}"/>
    <dgm:cxn modelId="{D0EC7EA6-5C5C-4300-8BF1-66042A6BDE38}" type="presOf" srcId="{7BD198C7-A8E2-49BF-AAF1-FD88CCB03134}" destId="{513515FF-BCC5-493C-AE46-D39D4DFCB142}" srcOrd="0" destOrd="1" presId="urn:microsoft.com/office/officeart/2018/5/layout/CenteredIconLabelDescriptionList"/>
    <dgm:cxn modelId="{9E6E45A7-E243-4325-819A-2B6905EB6968}" srcId="{52749D51-1F0F-42C3-AE1F-1A84EC42DA6E}" destId="{D1D27BBF-67BA-46F1-BAEA-C71DFF42C8A6}" srcOrd="0" destOrd="0" parTransId="{177F3CE4-3646-4780-A6E1-DB7834B32B7D}" sibTransId="{DB824E0A-D820-47F6-82FF-3A124960E5B6}"/>
    <dgm:cxn modelId="{BBC4E6AA-DA37-41EB-BACB-0F9D6FB17021}" srcId="{64F2778C-C040-4F5C-8B5F-4726E22A9864}" destId="{269634D6-44FD-415D-A21A-085A2B1B8D8D}" srcOrd="0" destOrd="0" parTransId="{43CC63BC-640A-4FF1-A2F6-20A91650DDB6}" sibTransId="{3916860E-153B-457B-896E-5C768184CF1B}"/>
    <dgm:cxn modelId="{34020AAF-0E4A-4DDE-8573-D4EBEB04E61E}" type="presOf" srcId="{269634D6-44FD-415D-A21A-085A2B1B8D8D}" destId="{CF7B8E45-502F-4EA9-A453-619632A5DAFF}" srcOrd="0" destOrd="0" presId="urn:microsoft.com/office/officeart/2018/5/layout/CenteredIconLabelDescriptionList"/>
    <dgm:cxn modelId="{66DE26C7-8063-4885-A194-999AC46918DF}" type="presOf" srcId="{64F2778C-C040-4F5C-8B5F-4726E22A9864}" destId="{D101B5E0-D440-41C2-9AED-C4BE829E6CD6}" srcOrd="0" destOrd="0" presId="urn:microsoft.com/office/officeart/2018/5/layout/CenteredIconLabelDescriptionList"/>
    <dgm:cxn modelId="{4DE7EDCB-626D-46F4-88E4-B9D3D6E206F4}" type="presOf" srcId="{E4206D3E-B6E2-4DD5-B6AD-E23ECB9F7701}" destId="{91405201-41DF-404F-913D-3F1B8A5E35BB}" srcOrd="0" destOrd="1" presId="urn:microsoft.com/office/officeart/2018/5/layout/CenteredIconLabelDescriptionList"/>
    <dgm:cxn modelId="{73B5E5CD-30CE-462A-8B1F-6CDD01CCA7B4}" srcId="{B31D9F98-9112-49DE-9C11-A8D8ADDCF4F9}" destId="{91758BF0-6C32-428B-8398-FB163814D343}" srcOrd="1" destOrd="0" parTransId="{C31449FD-1784-4E23-96D6-7CE5024C2596}" sibTransId="{CF3ABB19-0841-4132-A3CA-BA956C293261}"/>
    <dgm:cxn modelId="{169D06D6-7CEE-47E9-99D4-5AC3E578A5D7}" type="presOf" srcId="{61AF7253-59FC-4DF8-9D42-E3DAD7525842}" destId="{CF7B8E45-502F-4EA9-A453-619632A5DAFF}" srcOrd="0" destOrd="3" presId="urn:microsoft.com/office/officeart/2018/5/layout/CenteredIconLabelDescriptionList"/>
    <dgm:cxn modelId="{59E7CDD7-B046-4401-8F6C-106E3CD76F3A}" srcId="{52749D51-1F0F-42C3-AE1F-1A84EC42DA6E}" destId="{64F2778C-C040-4F5C-8B5F-4726E22A9864}" srcOrd="1" destOrd="0" parTransId="{39DE789D-839C-4483-B49E-FD4998073463}" sibTransId="{6C5797F2-701D-4BE6-AB46-5C04DE9E32B2}"/>
    <dgm:cxn modelId="{73EA1EDF-8644-40A7-BD89-38F00C786FC9}" srcId="{64F2778C-C040-4F5C-8B5F-4726E22A9864}" destId="{7C30E88D-6C8E-4A96-92BD-502D79F75D05}" srcOrd="1" destOrd="0" parTransId="{4B286293-DFB8-4226-A5D4-560C835744BC}" sibTransId="{4AA60E72-C36A-4353-958A-14EE985739D0}"/>
    <dgm:cxn modelId="{ED9EFBE2-C188-4877-AD14-6E705B9DCF78}" type="presOf" srcId="{F6903F48-7895-4618-B5EC-905C8C35ADE1}" destId="{CF7B8E45-502F-4EA9-A453-619632A5DAFF}" srcOrd="0" destOrd="4" presId="urn:microsoft.com/office/officeart/2018/5/layout/CenteredIconLabelDescriptionList"/>
    <dgm:cxn modelId="{8B14FBE4-FF0A-4F16-83F3-6B1398CBFD48}" type="presOf" srcId="{A75EB043-B6F8-4C6F-AC0A-90758FDED25E}" destId="{513515FF-BCC5-493C-AE46-D39D4DFCB142}" srcOrd="0" destOrd="0" presId="urn:microsoft.com/office/officeart/2018/5/layout/CenteredIconLabelDescriptionList"/>
    <dgm:cxn modelId="{61512FE9-A21B-4EE2-AA2B-72493E550614}" srcId="{76DDB1E2-4EB9-40EF-88BD-0A6B8B0ED354}" destId="{E4206D3E-B6E2-4DD5-B6AD-E23ECB9F7701}" srcOrd="0" destOrd="0" parTransId="{AE0235F8-BEF6-41D6-A41B-25DA0C0AAEEE}" sibTransId="{F21018F0-3224-4D94-89C5-1013AF23E765}"/>
    <dgm:cxn modelId="{61A282EA-6DE2-40B1-A292-8EA25F0C5DA3}" type="presOf" srcId="{3CEA00EE-5761-460B-9F29-D2C1ED4D8634}" destId="{55430ECE-ADBE-4255-81E5-1400B5D197C9}" srcOrd="0" destOrd="1" presId="urn:microsoft.com/office/officeart/2018/5/layout/CenteredIconLabelDescriptionList"/>
    <dgm:cxn modelId="{2C3910EB-72EF-4A49-81F7-B41EA71343BD}" srcId="{52749D51-1F0F-42C3-AE1F-1A84EC42DA6E}" destId="{5C2BA8EA-380E-4FEA-9237-5A0640610199}" srcOrd="2" destOrd="0" parTransId="{6AE051AE-0795-4C66-933E-0284D2CAD318}" sibTransId="{24A63919-CC06-45D9-A91A-71CC121F383A}"/>
    <dgm:cxn modelId="{E7DBE0EB-4929-4B09-AD62-146957B863BE}" type="presOf" srcId="{52749D51-1F0F-42C3-AE1F-1A84EC42DA6E}" destId="{E7928D17-C701-443F-9A80-110351B6B04A}" srcOrd="0" destOrd="0" presId="urn:microsoft.com/office/officeart/2018/5/layout/CenteredIconLabelDescriptionList"/>
    <dgm:cxn modelId="{24DC9CED-2D04-476D-91C4-E585B60D9E63}" type="presOf" srcId="{5C2BA8EA-380E-4FEA-9237-5A0640610199}" destId="{E3CC15CF-E827-495E-BE91-D0A28C5B28D8}" srcOrd="0" destOrd="0" presId="urn:microsoft.com/office/officeart/2018/5/layout/CenteredIconLabelDescriptionList"/>
    <dgm:cxn modelId="{46253AF0-ADA3-49D9-9010-90B43AEEE7FF}" type="presOf" srcId="{03B2919D-7947-4813-8A28-4E5A4CCE8C56}" destId="{91405201-41DF-404F-913D-3F1B8A5E35BB}" srcOrd="0" destOrd="3" presId="urn:microsoft.com/office/officeart/2018/5/layout/CenteredIconLabelDescriptionList"/>
    <dgm:cxn modelId="{B958D8F2-65F1-4825-B312-8876554C517C}" srcId="{AB3FDD17-3C79-4F97-AAE0-54C3E62E450D}" destId="{F0B5272B-40BD-4E1D-AB24-E87B54CE6518}" srcOrd="0" destOrd="0" parTransId="{EB6252A9-7278-4CFB-A0B3-17FE080E10EF}" sibTransId="{7EAE298B-9C0E-4C2C-A502-4CBA5D82B72D}"/>
    <dgm:cxn modelId="{0E0EEFFB-C3A6-4456-9E75-E9ABAA0C7436}" srcId="{B31D9F98-9112-49DE-9C11-A8D8ADDCF4F9}" destId="{BFFEC91E-4B23-4B5B-B072-511A8A0E8706}" srcOrd="2" destOrd="0" parTransId="{CA8A4C00-DBA3-40E4-A722-B7550214887B}" sibTransId="{DFFCF274-9E55-48D6-97DC-E026334854D5}"/>
    <dgm:cxn modelId="{EEE49110-BB92-497E-80FA-31F01AD1C5F8}" type="presParOf" srcId="{E7928D17-C701-443F-9A80-110351B6B04A}" destId="{3D0320A9-A517-4F0C-8795-FF1176387D23}" srcOrd="0" destOrd="0" presId="urn:microsoft.com/office/officeart/2018/5/layout/CenteredIconLabelDescriptionList"/>
    <dgm:cxn modelId="{F6622CCF-49E9-47FF-84EA-4F9ADF198FE4}" type="presParOf" srcId="{3D0320A9-A517-4F0C-8795-FF1176387D23}" destId="{63DC5954-6691-4801-BD42-B835273CC8BF}" srcOrd="0" destOrd="0" presId="urn:microsoft.com/office/officeart/2018/5/layout/CenteredIconLabelDescriptionList"/>
    <dgm:cxn modelId="{423D74CA-2371-4A8B-896D-617A8B787C00}" type="presParOf" srcId="{3D0320A9-A517-4F0C-8795-FF1176387D23}" destId="{EA4B1ABA-ADBC-4AFB-9BE3-EC8F0B8395CB}" srcOrd="1" destOrd="0" presId="urn:microsoft.com/office/officeart/2018/5/layout/CenteredIconLabelDescriptionList"/>
    <dgm:cxn modelId="{4890AF31-4BE6-4078-BC6A-F099B5A82DB0}" type="presParOf" srcId="{3D0320A9-A517-4F0C-8795-FF1176387D23}" destId="{CC684D8E-20A3-4F05-A699-C4F87A67832A}" srcOrd="2" destOrd="0" presId="urn:microsoft.com/office/officeart/2018/5/layout/CenteredIconLabelDescriptionList"/>
    <dgm:cxn modelId="{B874CC00-BAF9-4325-8ECF-EB94E1554324}" type="presParOf" srcId="{3D0320A9-A517-4F0C-8795-FF1176387D23}" destId="{2991B6C8-BAB6-49B5-8CA0-9D7AF06C5F99}" srcOrd="3" destOrd="0" presId="urn:microsoft.com/office/officeart/2018/5/layout/CenteredIconLabelDescriptionList"/>
    <dgm:cxn modelId="{7FDC2A52-F3D0-4FFB-93F4-66E54823B2B1}" type="presParOf" srcId="{3D0320A9-A517-4F0C-8795-FF1176387D23}" destId="{F219857C-43B5-43A6-9845-9BB4A955E7C5}" srcOrd="4" destOrd="0" presId="urn:microsoft.com/office/officeart/2018/5/layout/CenteredIconLabelDescriptionList"/>
    <dgm:cxn modelId="{139AE464-EBD8-4002-BEA8-3B86286717CB}" type="presParOf" srcId="{E7928D17-C701-443F-9A80-110351B6B04A}" destId="{C6555FAE-356C-423F-9211-2602BE60C0C4}" srcOrd="1" destOrd="0" presId="urn:microsoft.com/office/officeart/2018/5/layout/CenteredIconLabelDescriptionList"/>
    <dgm:cxn modelId="{FCEE3A8C-F9DC-4D12-B135-0FF7E3F14BF2}" type="presParOf" srcId="{E7928D17-C701-443F-9A80-110351B6B04A}" destId="{BF43B16C-696E-4CCE-A06F-54B0BFCE1D9D}" srcOrd="2" destOrd="0" presId="urn:microsoft.com/office/officeart/2018/5/layout/CenteredIconLabelDescriptionList"/>
    <dgm:cxn modelId="{E72B65B2-6F59-4658-8AA3-C841FF29CC5E}" type="presParOf" srcId="{BF43B16C-696E-4CCE-A06F-54B0BFCE1D9D}" destId="{15202D98-5E9A-4AD7-A240-8879E80C32F9}" srcOrd="0" destOrd="0" presId="urn:microsoft.com/office/officeart/2018/5/layout/CenteredIconLabelDescriptionList"/>
    <dgm:cxn modelId="{E0DFC714-5AC2-417F-BD81-23B4BBBF6DFC}" type="presParOf" srcId="{BF43B16C-696E-4CCE-A06F-54B0BFCE1D9D}" destId="{3D4DDC6B-F397-4523-BC37-FEB40B3DC4FB}" srcOrd="1" destOrd="0" presId="urn:microsoft.com/office/officeart/2018/5/layout/CenteredIconLabelDescriptionList"/>
    <dgm:cxn modelId="{763B5E23-3E0C-4C30-8678-96976CC8A067}" type="presParOf" srcId="{BF43B16C-696E-4CCE-A06F-54B0BFCE1D9D}" destId="{D101B5E0-D440-41C2-9AED-C4BE829E6CD6}" srcOrd="2" destOrd="0" presId="urn:microsoft.com/office/officeart/2018/5/layout/CenteredIconLabelDescriptionList"/>
    <dgm:cxn modelId="{74CDB397-F705-4AAD-9A68-23CA41F7DD06}" type="presParOf" srcId="{BF43B16C-696E-4CCE-A06F-54B0BFCE1D9D}" destId="{F35C726C-B395-4F5B-B19A-DF587FBDC2BC}" srcOrd="3" destOrd="0" presId="urn:microsoft.com/office/officeart/2018/5/layout/CenteredIconLabelDescriptionList"/>
    <dgm:cxn modelId="{C85B1EA5-3834-4B86-8127-1DB9685DEAE9}" type="presParOf" srcId="{BF43B16C-696E-4CCE-A06F-54B0BFCE1D9D}" destId="{CF7B8E45-502F-4EA9-A453-619632A5DAFF}" srcOrd="4" destOrd="0" presId="urn:microsoft.com/office/officeart/2018/5/layout/CenteredIconLabelDescriptionList"/>
    <dgm:cxn modelId="{22A2B39C-F5F8-4A53-A948-C9643EC814EA}" type="presParOf" srcId="{E7928D17-C701-443F-9A80-110351B6B04A}" destId="{3B301EA8-31F2-4800-9772-6B9414929451}" srcOrd="3" destOrd="0" presId="urn:microsoft.com/office/officeart/2018/5/layout/CenteredIconLabelDescriptionList"/>
    <dgm:cxn modelId="{D299E694-4B72-40AE-8199-706E237D4D5F}" type="presParOf" srcId="{E7928D17-C701-443F-9A80-110351B6B04A}" destId="{A74E7D34-D9EF-4E8B-B20F-35C06A91C72F}" srcOrd="4" destOrd="0" presId="urn:microsoft.com/office/officeart/2018/5/layout/CenteredIconLabelDescriptionList"/>
    <dgm:cxn modelId="{100F4F04-F783-42DC-AA43-696273684ACE}" type="presParOf" srcId="{A74E7D34-D9EF-4E8B-B20F-35C06A91C72F}" destId="{3652DE68-44BD-46E3-950E-3DB6ADDEC30A}" srcOrd="0" destOrd="0" presId="urn:microsoft.com/office/officeart/2018/5/layout/CenteredIconLabelDescriptionList"/>
    <dgm:cxn modelId="{93333C34-1EA1-437A-A3D8-157D8F643796}" type="presParOf" srcId="{A74E7D34-D9EF-4E8B-B20F-35C06A91C72F}" destId="{6B0C106A-472A-4A85-96D9-02A9A7CDC584}" srcOrd="1" destOrd="0" presId="urn:microsoft.com/office/officeart/2018/5/layout/CenteredIconLabelDescriptionList"/>
    <dgm:cxn modelId="{D3BA288D-551A-4535-9BCB-CCBD7D9D184D}" type="presParOf" srcId="{A74E7D34-D9EF-4E8B-B20F-35C06A91C72F}" destId="{E3CC15CF-E827-495E-BE91-D0A28C5B28D8}" srcOrd="2" destOrd="0" presId="urn:microsoft.com/office/officeart/2018/5/layout/CenteredIconLabelDescriptionList"/>
    <dgm:cxn modelId="{3CABCB8D-D8EB-44C5-A49A-39548A586647}" type="presParOf" srcId="{A74E7D34-D9EF-4E8B-B20F-35C06A91C72F}" destId="{47763F51-1050-4501-8E60-14806FFFE62B}" srcOrd="3" destOrd="0" presId="urn:microsoft.com/office/officeart/2018/5/layout/CenteredIconLabelDescriptionList"/>
    <dgm:cxn modelId="{F72BA1B3-4225-4020-97B5-EB95E2C1683B}" type="presParOf" srcId="{A74E7D34-D9EF-4E8B-B20F-35C06A91C72F}" destId="{513515FF-BCC5-493C-AE46-D39D4DFCB142}" srcOrd="4" destOrd="0" presId="urn:microsoft.com/office/officeart/2018/5/layout/CenteredIconLabelDescriptionList"/>
    <dgm:cxn modelId="{FC1D731E-3B51-46C9-8544-176B168F8110}" type="presParOf" srcId="{E7928D17-C701-443F-9A80-110351B6B04A}" destId="{CDFC8BCE-0348-4E49-8D09-EF27E65357C6}" srcOrd="5" destOrd="0" presId="urn:microsoft.com/office/officeart/2018/5/layout/CenteredIconLabelDescriptionList"/>
    <dgm:cxn modelId="{AA443697-05C2-4F8B-903B-978BE79FC25C}" type="presParOf" srcId="{E7928D17-C701-443F-9A80-110351B6B04A}" destId="{707FD493-8F32-43A0-AFC5-AC47D5BE6AE1}" srcOrd="6" destOrd="0" presId="urn:microsoft.com/office/officeart/2018/5/layout/CenteredIconLabelDescriptionList"/>
    <dgm:cxn modelId="{207220B4-72EC-49DC-912A-C0B2D43DBD29}" type="presParOf" srcId="{707FD493-8F32-43A0-AFC5-AC47D5BE6AE1}" destId="{41908408-571F-46F3-8A9C-CCE13C672B79}" srcOrd="0" destOrd="0" presId="urn:microsoft.com/office/officeart/2018/5/layout/CenteredIconLabelDescriptionList"/>
    <dgm:cxn modelId="{4A40EDBA-AA54-476B-A513-1948571A54F4}" type="presParOf" srcId="{707FD493-8F32-43A0-AFC5-AC47D5BE6AE1}" destId="{F24FAF3B-739E-4A50-90D4-BBFEE2CD27BB}" srcOrd="1" destOrd="0" presId="urn:microsoft.com/office/officeart/2018/5/layout/CenteredIconLabelDescriptionList"/>
    <dgm:cxn modelId="{ED23DE97-2949-494A-ABB6-4C91C0A8709D}" type="presParOf" srcId="{707FD493-8F32-43A0-AFC5-AC47D5BE6AE1}" destId="{84D937D5-EBCC-4F69-B129-11568635AFC3}" srcOrd="2" destOrd="0" presId="urn:microsoft.com/office/officeart/2018/5/layout/CenteredIconLabelDescriptionList"/>
    <dgm:cxn modelId="{0C075A64-7D05-4E60-B7F4-811EDC6531C0}" type="presParOf" srcId="{707FD493-8F32-43A0-AFC5-AC47D5BE6AE1}" destId="{A97D84D4-871B-472E-8E3B-53AD893807F5}" srcOrd="3" destOrd="0" presId="urn:microsoft.com/office/officeart/2018/5/layout/CenteredIconLabelDescriptionList"/>
    <dgm:cxn modelId="{A6D21AEE-94E4-44BF-8C8A-02A8D20DD0BF}" type="presParOf" srcId="{707FD493-8F32-43A0-AFC5-AC47D5BE6AE1}" destId="{55430ECE-ADBE-4255-81E5-1400B5D197C9}" srcOrd="4" destOrd="0" presId="urn:microsoft.com/office/officeart/2018/5/layout/CenteredIconLabelDescriptionList"/>
    <dgm:cxn modelId="{3C92F56B-24F0-4491-A37F-8033407E4203}" type="presParOf" srcId="{E7928D17-C701-443F-9A80-110351B6B04A}" destId="{D6B9F1DE-2338-4B8D-AA33-0D5E95BA99AA}" srcOrd="7" destOrd="0" presId="urn:microsoft.com/office/officeart/2018/5/layout/CenteredIconLabelDescriptionList"/>
    <dgm:cxn modelId="{7070E8FB-C024-4BFA-AEFB-E8A5FEFD9130}" type="presParOf" srcId="{E7928D17-C701-443F-9A80-110351B6B04A}" destId="{EB5825BC-C2B5-40C0-BB76-E49A80B45B9C}" srcOrd="8" destOrd="0" presId="urn:microsoft.com/office/officeart/2018/5/layout/CenteredIconLabelDescriptionList"/>
    <dgm:cxn modelId="{9D020E18-245D-4A74-B4E6-B763A9E15FD5}" type="presParOf" srcId="{EB5825BC-C2B5-40C0-BB76-E49A80B45B9C}" destId="{BECFF55A-1CAD-4224-8900-525EB3512CA0}" srcOrd="0" destOrd="0" presId="urn:microsoft.com/office/officeart/2018/5/layout/CenteredIconLabelDescriptionList"/>
    <dgm:cxn modelId="{BE3B3D67-0620-42A8-B1B9-BF5F85D0FF7A}" type="presParOf" srcId="{EB5825BC-C2B5-40C0-BB76-E49A80B45B9C}" destId="{1E36BFD3-A7D2-4255-891C-F2C1C8FDFCF8}" srcOrd="1" destOrd="0" presId="urn:microsoft.com/office/officeart/2018/5/layout/CenteredIconLabelDescriptionList"/>
    <dgm:cxn modelId="{98201AC4-B72D-4926-9EB9-879EFBE9464E}" type="presParOf" srcId="{EB5825BC-C2B5-40C0-BB76-E49A80B45B9C}" destId="{A89A8DD7-BE7D-4BB6-AB21-E17A0A3A16E3}" srcOrd="2" destOrd="0" presId="urn:microsoft.com/office/officeart/2018/5/layout/CenteredIconLabelDescriptionList"/>
    <dgm:cxn modelId="{BD981C68-BD95-4221-B695-6A6008700E60}" type="presParOf" srcId="{EB5825BC-C2B5-40C0-BB76-E49A80B45B9C}" destId="{4DB830D0-3325-4B4C-A2EC-FEC84EFE8331}" srcOrd="3" destOrd="0" presId="urn:microsoft.com/office/officeart/2018/5/layout/CenteredIconLabelDescriptionList"/>
    <dgm:cxn modelId="{94A4BBA7-AFE5-4348-9DED-83CBD853970E}" type="presParOf" srcId="{EB5825BC-C2B5-40C0-BB76-E49A80B45B9C}" destId="{91405201-41DF-404F-913D-3F1B8A5E35BB}" srcOrd="4" destOrd="0" presId="urn:microsoft.com/office/officeart/2018/5/layout/CenteredIconLabelDescri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4515561-7DCE-4C7E-BB84-2CA86E069D74}">
      <dsp:nvSpPr>
        <dsp:cNvPr id="0" name=""/>
        <dsp:cNvSpPr/>
      </dsp:nvSpPr>
      <dsp:spPr>
        <a:xfrm>
          <a:off x="0" y="55818"/>
          <a:ext cx="5802660" cy="1347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kern="1200"/>
            <a:t>• SpaceX launches Falcon 9 rockets at a cost of around $62m. This is considerably cheaper than other providers (which usually cost upwards of $165m), and much of the savings are because SpaceX can land, and then re-use the first stage of the rocket.</a:t>
          </a:r>
          <a:endParaRPr lang="en-US" sz="1600" kern="1200"/>
        </a:p>
      </dsp:txBody>
      <dsp:txXfrm>
        <a:off x="65796" y="121614"/>
        <a:ext cx="5671068" cy="1216248"/>
      </dsp:txXfrm>
    </dsp:sp>
    <dsp:sp modelId="{243B87A6-3591-4969-92B5-9EC302F534F8}">
      <dsp:nvSpPr>
        <dsp:cNvPr id="0" name=""/>
        <dsp:cNvSpPr/>
      </dsp:nvSpPr>
      <dsp:spPr>
        <a:xfrm>
          <a:off x="0" y="1449738"/>
          <a:ext cx="5802660" cy="1347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kern="1200"/>
            <a:t>• If we can make predictions on whether the first stage will land, we can determine the cost of a launch, and use this information to assess whether or not an alternate company should bid and SpaceX for a rocket launch.</a:t>
          </a:r>
          <a:endParaRPr lang="en-US" sz="1600" kern="1200"/>
        </a:p>
      </dsp:txBody>
      <dsp:txXfrm>
        <a:off x="65796" y="1515534"/>
        <a:ext cx="5671068" cy="1216248"/>
      </dsp:txXfrm>
    </dsp:sp>
    <dsp:sp modelId="{51BDF232-D992-4F87-9FE4-FBDE0C8E4D08}">
      <dsp:nvSpPr>
        <dsp:cNvPr id="0" name=""/>
        <dsp:cNvSpPr/>
      </dsp:nvSpPr>
      <dsp:spPr>
        <a:xfrm>
          <a:off x="0" y="2843658"/>
          <a:ext cx="5802660" cy="1347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kern="1200"/>
            <a:t>• This project will </a:t>
          </a:r>
          <a:r>
            <a:rPr lang="en-CA" sz="1600" b="0" i="0" kern="1200"/>
            <a:t>ultimately predict if the Space X Falcon 9 first stage will land successfully.</a:t>
          </a:r>
          <a:endParaRPr lang="en-US" sz="1600" kern="1200"/>
        </a:p>
      </dsp:txBody>
      <dsp:txXfrm>
        <a:off x="65796" y="2909454"/>
        <a:ext cx="5671068" cy="12162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DC5954-6691-4801-BD42-B835273CC8BF}">
      <dsp:nvSpPr>
        <dsp:cNvPr id="0" name=""/>
        <dsp:cNvSpPr/>
      </dsp:nvSpPr>
      <dsp:spPr>
        <a:xfrm>
          <a:off x="653882" y="90904"/>
          <a:ext cx="699890" cy="69989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C684D8E-20A3-4F05-A699-C4F87A67832A}">
      <dsp:nvSpPr>
        <dsp:cNvPr id="0" name=""/>
        <dsp:cNvSpPr/>
      </dsp:nvSpPr>
      <dsp:spPr>
        <a:xfrm>
          <a:off x="3984" y="995888"/>
          <a:ext cx="1999687" cy="4218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400" kern="1200" dirty="0">
              <a:solidFill>
                <a:srgbClr val="00B0F0"/>
              </a:solidFill>
            </a:rPr>
            <a:t>Data Collection</a:t>
          </a:r>
          <a:endParaRPr lang="en-US" sz="1400" kern="1200" dirty="0">
            <a:solidFill>
              <a:srgbClr val="00B0F0"/>
            </a:solidFill>
          </a:endParaRPr>
        </a:p>
      </dsp:txBody>
      <dsp:txXfrm>
        <a:off x="3984" y="995888"/>
        <a:ext cx="1999687" cy="421809"/>
      </dsp:txXfrm>
    </dsp:sp>
    <dsp:sp modelId="{F219857C-43B5-43A6-9845-9BB4A955E7C5}">
      <dsp:nvSpPr>
        <dsp:cNvPr id="0" name=""/>
        <dsp:cNvSpPr/>
      </dsp:nvSpPr>
      <dsp:spPr>
        <a:xfrm>
          <a:off x="3984" y="1513089"/>
          <a:ext cx="1999687" cy="33474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b="0" i="0" kern="1200" dirty="0"/>
            <a:t>•</a:t>
          </a:r>
          <a:r>
            <a:rPr lang="en-GB" sz="1200" kern="1200" dirty="0"/>
            <a:t>Making GET requests to the SpaceX REST API</a:t>
          </a:r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200" kern="1200" dirty="0"/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b="0" i="0" kern="1200" dirty="0"/>
            <a:t>•</a:t>
          </a:r>
          <a:r>
            <a:rPr lang="en-GB" sz="1200" kern="1200" dirty="0"/>
            <a:t>Web Scraping</a:t>
          </a:r>
          <a:endParaRPr lang="en-US" sz="1200" kern="1200" dirty="0"/>
        </a:p>
      </dsp:txBody>
      <dsp:txXfrm>
        <a:off x="3984" y="1513089"/>
        <a:ext cx="1999687" cy="3347418"/>
      </dsp:txXfrm>
    </dsp:sp>
    <dsp:sp modelId="{15202D98-5E9A-4AD7-A240-8879E80C32F9}">
      <dsp:nvSpPr>
        <dsp:cNvPr id="0" name=""/>
        <dsp:cNvSpPr/>
      </dsp:nvSpPr>
      <dsp:spPr>
        <a:xfrm>
          <a:off x="3003515" y="29973"/>
          <a:ext cx="699890" cy="69989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101B5E0-D440-41C2-9AED-C4BE829E6CD6}">
      <dsp:nvSpPr>
        <dsp:cNvPr id="0" name=""/>
        <dsp:cNvSpPr/>
      </dsp:nvSpPr>
      <dsp:spPr>
        <a:xfrm>
          <a:off x="2353616" y="940196"/>
          <a:ext cx="1999687" cy="4218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400" kern="1200" dirty="0">
              <a:solidFill>
                <a:srgbClr val="00B0F0"/>
              </a:solidFill>
            </a:rPr>
            <a:t>Data Wrangling </a:t>
          </a:r>
          <a:endParaRPr lang="en-US" sz="1400" kern="1200" dirty="0">
            <a:solidFill>
              <a:srgbClr val="00B0F0"/>
            </a:solidFill>
          </a:endParaRPr>
        </a:p>
      </dsp:txBody>
      <dsp:txXfrm>
        <a:off x="2353616" y="940196"/>
        <a:ext cx="1999687" cy="421809"/>
      </dsp:txXfrm>
    </dsp:sp>
    <dsp:sp modelId="{CF7B8E45-502F-4EA9-A453-619632A5DAFF}">
      <dsp:nvSpPr>
        <dsp:cNvPr id="0" name=""/>
        <dsp:cNvSpPr/>
      </dsp:nvSpPr>
      <dsp:spPr>
        <a:xfrm>
          <a:off x="2353616" y="1459835"/>
          <a:ext cx="1999687" cy="34616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b="0" i="0" kern="1200" dirty="0"/>
            <a:t>•</a:t>
          </a:r>
          <a:r>
            <a:rPr lang="en-GB" sz="1200" kern="1200" dirty="0"/>
            <a:t>Using the </a:t>
          </a:r>
          <a:r>
            <a:rPr lang="en-GB" sz="1200" kern="1200" dirty="0">
              <a:solidFill>
                <a:srgbClr val="00B0F0"/>
              </a:solidFill>
            </a:rPr>
            <a:t>.</a:t>
          </a:r>
          <a:r>
            <a:rPr lang="en-GB" sz="1200" kern="1200" dirty="0" err="1">
              <a:solidFill>
                <a:srgbClr val="00B0F0"/>
              </a:solidFill>
            </a:rPr>
            <a:t>fillna</a:t>
          </a:r>
          <a:r>
            <a:rPr lang="en-GB" sz="1200" kern="1200" dirty="0">
              <a:solidFill>
                <a:srgbClr val="00B0F0"/>
              </a:solidFill>
            </a:rPr>
            <a:t>() </a:t>
          </a:r>
          <a:r>
            <a:rPr lang="en-GB" sz="1200" kern="1200" dirty="0"/>
            <a:t>method to remove </a:t>
          </a:r>
          <a:r>
            <a:rPr lang="en-GB" sz="1200" kern="1200" dirty="0" err="1"/>
            <a:t>NaN</a:t>
          </a:r>
          <a:r>
            <a:rPr lang="en-GB" sz="1200" kern="1200" dirty="0"/>
            <a:t> values</a:t>
          </a:r>
          <a:endParaRPr lang="en-US" sz="1200" kern="1200" dirty="0"/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Using the </a:t>
          </a:r>
          <a:r>
            <a:rPr lang="en-GB" sz="1200" b="0" kern="1200" dirty="0">
              <a:solidFill>
                <a:srgbClr val="00B0F0"/>
              </a:solidFill>
            </a:rPr>
            <a:t>.</a:t>
          </a:r>
          <a:r>
            <a:rPr lang="en-GB" sz="1200" b="0" kern="1200" dirty="0" err="1">
              <a:solidFill>
                <a:srgbClr val="00B0F0"/>
              </a:solidFill>
            </a:rPr>
            <a:t>value_counts</a:t>
          </a:r>
          <a:r>
            <a:rPr lang="en-GB" sz="1200" b="0" kern="1200" dirty="0">
              <a:solidFill>
                <a:srgbClr val="00B0F0"/>
              </a:solidFill>
            </a:rPr>
            <a:t>()</a:t>
          </a:r>
          <a:r>
            <a:rPr lang="en-GB" sz="1200" kern="1200" dirty="0">
              <a:solidFill>
                <a:srgbClr val="00B0F0"/>
              </a:solidFill>
            </a:rPr>
            <a:t> </a:t>
          </a:r>
          <a:r>
            <a:rPr lang="en-GB" sz="1200" kern="1200" dirty="0"/>
            <a:t>method to determine the following: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 dirty="0"/>
            <a:t>Number of launches on each site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 dirty="0"/>
            <a:t>Number and occurrence of each orbit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 dirty="0"/>
            <a:t>Number and occurrence of mission outcome per orbit type</a:t>
          </a:r>
          <a:endParaRPr lang="en-US" sz="1200" kern="1200" dirty="0"/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- Creating a landing outcome label that shows the following: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 dirty="0"/>
            <a:t>0 when the booster did not land successfully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 dirty="0"/>
            <a:t>1 when the booster did land successfully</a:t>
          </a:r>
          <a:endParaRPr lang="en-US" sz="1200" kern="1200" dirty="0"/>
        </a:p>
      </dsp:txBody>
      <dsp:txXfrm>
        <a:off x="2353616" y="1459835"/>
        <a:ext cx="1999687" cy="3461604"/>
      </dsp:txXfrm>
    </dsp:sp>
    <dsp:sp modelId="{3652DE68-44BD-46E3-950E-3DB6ADDEC30A}">
      <dsp:nvSpPr>
        <dsp:cNvPr id="0" name=""/>
        <dsp:cNvSpPr/>
      </dsp:nvSpPr>
      <dsp:spPr>
        <a:xfrm>
          <a:off x="5353148" y="29973"/>
          <a:ext cx="699890" cy="69989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CC15CF-E827-495E-BE91-D0A28C5B28D8}">
      <dsp:nvSpPr>
        <dsp:cNvPr id="0" name=""/>
        <dsp:cNvSpPr/>
      </dsp:nvSpPr>
      <dsp:spPr>
        <a:xfrm>
          <a:off x="4703249" y="940196"/>
          <a:ext cx="1999687" cy="4218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400" kern="1200" dirty="0">
              <a:solidFill>
                <a:srgbClr val="00B0F0"/>
              </a:solidFill>
            </a:rPr>
            <a:t>Exploratory Data Analysis</a:t>
          </a:r>
          <a:endParaRPr lang="en-US" sz="1400" kern="1200" dirty="0">
            <a:solidFill>
              <a:srgbClr val="00B0F0"/>
            </a:solidFill>
          </a:endParaRPr>
        </a:p>
      </dsp:txBody>
      <dsp:txXfrm>
        <a:off x="4703249" y="940196"/>
        <a:ext cx="1999687" cy="421809"/>
      </dsp:txXfrm>
    </dsp:sp>
    <dsp:sp modelId="{513515FF-BCC5-493C-AE46-D39D4DFCB142}">
      <dsp:nvSpPr>
        <dsp:cNvPr id="0" name=""/>
        <dsp:cNvSpPr/>
      </dsp:nvSpPr>
      <dsp:spPr>
        <a:xfrm>
          <a:off x="4703249" y="1459835"/>
          <a:ext cx="1999687" cy="34616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b="0" i="0" kern="1200" dirty="0"/>
            <a:t>•</a:t>
          </a:r>
          <a:r>
            <a:rPr lang="en-GB" sz="1200" kern="1200" dirty="0"/>
            <a:t>Using SQL queries to manipulate and evaluate the SpaceX dataset</a:t>
          </a:r>
          <a:endParaRPr lang="en-US" sz="1200" kern="1200" dirty="0"/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Using Pandas and Matplotlib to visualize relationships between variables, and determine patterns</a:t>
          </a:r>
          <a:endParaRPr lang="en-US" sz="1200" kern="1200" dirty="0"/>
        </a:p>
      </dsp:txBody>
      <dsp:txXfrm>
        <a:off x="4703249" y="1459835"/>
        <a:ext cx="1999687" cy="3461604"/>
      </dsp:txXfrm>
    </dsp:sp>
    <dsp:sp modelId="{41908408-571F-46F3-8A9C-CCE13C672B79}">
      <dsp:nvSpPr>
        <dsp:cNvPr id="0" name=""/>
        <dsp:cNvSpPr/>
      </dsp:nvSpPr>
      <dsp:spPr>
        <a:xfrm>
          <a:off x="7702780" y="29973"/>
          <a:ext cx="699890" cy="699890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4D937D5-EBCC-4F69-B129-11568635AFC3}">
      <dsp:nvSpPr>
        <dsp:cNvPr id="0" name=""/>
        <dsp:cNvSpPr/>
      </dsp:nvSpPr>
      <dsp:spPr>
        <a:xfrm>
          <a:off x="7052882" y="940196"/>
          <a:ext cx="1999687" cy="4218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400" kern="1200" dirty="0">
              <a:solidFill>
                <a:srgbClr val="00B0F0"/>
              </a:solidFill>
            </a:rPr>
            <a:t>Interactive Visual Analytics</a:t>
          </a:r>
          <a:endParaRPr lang="en-US" sz="1400" kern="1200" dirty="0">
            <a:solidFill>
              <a:srgbClr val="00B0F0"/>
            </a:solidFill>
          </a:endParaRPr>
        </a:p>
      </dsp:txBody>
      <dsp:txXfrm>
        <a:off x="7052882" y="940196"/>
        <a:ext cx="1999687" cy="421809"/>
      </dsp:txXfrm>
    </dsp:sp>
    <dsp:sp modelId="{55430ECE-ADBE-4255-81E5-1400B5D197C9}">
      <dsp:nvSpPr>
        <dsp:cNvPr id="0" name=""/>
        <dsp:cNvSpPr/>
      </dsp:nvSpPr>
      <dsp:spPr>
        <a:xfrm>
          <a:off x="7052882" y="1459835"/>
          <a:ext cx="1999687" cy="34616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b="0" i="0" kern="1200" dirty="0"/>
            <a:t>•</a:t>
          </a:r>
          <a:r>
            <a:rPr lang="en-GB" sz="1200" kern="1200" dirty="0"/>
            <a:t>Geospatial analytics using Folium</a:t>
          </a:r>
          <a:endParaRPr lang="en-US" sz="1200" kern="1200" dirty="0"/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Creating an interactive dashboard using </a:t>
          </a:r>
          <a:r>
            <a:rPr lang="en-GB" sz="1200" kern="1200" dirty="0" err="1">
              <a:solidFill>
                <a:srgbClr val="00B0F0"/>
              </a:solidFill>
            </a:rPr>
            <a:t>Plotly</a:t>
          </a:r>
          <a:r>
            <a:rPr lang="en-GB" sz="1200" kern="1200" dirty="0"/>
            <a:t> Dash</a:t>
          </a:r>
          <a:endParaRPr lang="en-US" sz="1200" kern="1200" dirty="0"/>
        </a:p>
      </dsp:txBody>
      <dsp:txXfrm>
        <a:off x="7052882" y="1459835"/>
        <a:ext cx="1999687" cy="3461604"/>
      </dsp:txXfrm>
    </dsp:sp>
    <dsp:sp modelId="{BECFF55A-1CAD-4224-8900-525EB3512CA0}">
      <dsp:nvSpPr>
        <dsp:cNvPr id="0" name=""/>
        <dsp:cNvSpPr/>
      </dsp:nvSpPr>
      <dsp:spPr>
        <a:xfrm>
          <a:off x="10052413" y="29973"/>
          <a:ext cx="699890" cy="699890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9A8DD7-BE7D-4BB6-AB21-E17A0A3A16E3}">
      <dsp:nvSpPr>
        <dsp:cNvPr id="0" name=""/>
        <dsp:cNvSpPr/>
      </dsp:nvSpPr>
      <dsp:spPr>
        <a:xfrm>
          <a:off x="9402515" y="940196"/>
          <a:ext cx="1999687" cy="4218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400" kern="1200" dirty="0">
              <a:solidFill>
                <a:srgbClr val="00B0F0"/>
              </a:solidFill>
            </a:rPr>
            <a:t>Data Modelling and Evaluation</a:t>
          </a:r>
          <a:endParaRPr lang="en-US" sz="1400" kern="1200" dirty="0">
            <a:solidFill>
              <a:srgbClr val="00B0F0"/>
            </a:solidFill>
          </a:endParaRPr>
        </a:p>
      </dsp:txBody>
      <dsp:txXfrm>
        <a:off x="9402515" y="940196"/>
        <a:ext cx="1999687" cy="421809"/>
      </dsp:txXfrm>
    </dsp:sp>
    <dsp:sp modelId="{91405201-41DF-404F-913D-3F1B8A5E35BB}">
      <dsp:nvSpPr>
        <dsp:cNvPr id="0" name=""/>
        <dsp:cNvSpPr/>
      </dsp:nvSpPr>
      <dsp:spPr>
        <a:xfrm>
          <a:off x="9402515" y="1459835"/>
          <a:ext cx="1999687" cy="34616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b="0" i="0" kern="1200" dirty="0"/>
            <a:t>•</a:t>
          </a:r>
          <a:r>
            <a:rPr lang="en-GB" sz="1200" kern="1200" dirty="0"/>
            <a:t>Using Scikit-Learn to: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 dirty="0"/>
            <a:t>Pre-process (standardize) the data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 dirty="0"/>
            <a:t>Split the data into training and testing data using </a:t>
          </a:r>
          <a:r>
            <a:rPr lang="en-GB" sz="1200" kern="1200" dirty="0" err="1">
              <a:solidFill>
                <a:srgbClr val="00B0F0"/>
              </a:solidFill>
            </a:rPr>
            <a:t>train_test_split</a:t>
          </a:r>
          <a:endParaRPr lang="en-US" sz="1200" kern="1200" dirty="0">
            <a:solidFill>
              <a:srgbClr val="00B0F0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 dirty="0"/>
            <a:t>Train different classification models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 dirty="0"/>
            <a:t>Find hyperparameters using </a:t>
          </a:r>
          <a:r>
            <a:rPr lang="en-GB" sz="1200" kern="1200" dirty="0" err="1">
              <a:solidFill>
                <a:srgbClr val="00B0F0"/>
              </a:solidFill>
            </a:rPr>
            <a:t>GridSearchCV</a:t>
          </a:r>
          <a:endParaRPr lang="en-US" sz="1200" kern="1200" dirty="0">
            <a:solidFill>
              <a:srgbClr val="00B0F0"/>
            </a:solidFill>
          </a:endParaRPr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Plotting confusion matrices for each classification model</a:t>
          </a:r>
          <a:endParaRPr lang="en-US" sz="1200" kern="1200" dirty="0"/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Assessing the accuracy of each classification model</a:t>
          </a:r>
          <a:endParaRPr lang="en-US" sz="1200" kern="1200" dirty="0"/>
        </a:p>
      </dsp:txBody>
      <dsp:txXfrm>
        <a:off x="9402515" y="1459835"/>
        <a:ext cx="1999687" cy="34616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5/layout/CenteredIconLabelDescriptionList">
  <dgm:title val="Centered 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2/09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2/09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Insert comments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422595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254688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85000"/>
                  <a:lumOff val="1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  <a:lumOff val="1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9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3853271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9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309038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9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9901105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9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149024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9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272418326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9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913144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smtClean="0"/>
              <a:t>9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2279360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9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489315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F0D51B9-A61A-4FDC-9E0F-E2A63E0E94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303838" y="0"/>
            <a:ext cx="6888162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, edit alt text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93129"/>
            <a:ext cx="11386134" cy="2215991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8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74109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11132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ligh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89E73A-8AF6-4995-85C4-948312F9A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E7C5D7A7-45E9-4756-B28B-644907783F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2" y="1447800"/>
            <a:ext cx="11406188" cy="495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05174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9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435791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3 colum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94515F3-E20E-47CC-8314-0A030AB3D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813" y="1327151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1047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71047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30755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30755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44358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339007"/>
            <a:ext cx="11386134" cy="2031325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100000"/>
              </a:lnSpc>
              <a:defRPr sz="66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242574"/>
            <a:ext cx="11379200" cy="307777"/>
          </a:xfrm>
        </p:spPr>
        <p:txBody>
          <a:bodyPr wrap="square" lIns="36000" tIns="0" rIns="36000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3735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Full Pictur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3678123"/>
            <a:ext cx="11386134" cy="830997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6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05867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2EBDB0D-AC97-40F0-9DD9-F997B00816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474929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74F36F-3194-40C1-BFCB-D2FC8CB29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388188"/>
            <a:ext cx="4323035" cy="239274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Oval 20">
            <a:extLst>
              <a:ext uri="{FF2B5EF4-FFF2-40B4-BE49-F238E27FC236}">
                <a16:creationId xmlns:a16="http://schemas.microsoft.com/office/drawing/2014/main" id="{0B27F5C5-C656-4F2F-9EEE-B93F6E79E7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711496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811B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6C41C771-7ED2-45AF-884F-E0E275C6B34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498013" y="1040484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A82ADF8-12C7-4D27-8457-7F3D1C93EB4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7432" y="518014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18CF815-87D3-425A-8169-07DAC599615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87433" y="936969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Oval 20">
            <a:extLst>
              <a:ext uri="{FF2B5EF4-FFF2-40B4-BE49-F238E27FC236}">
                <a16:creationId xmlns:a16="http://schemas.microsoft.com/office/drawing/2014/main" id="{71209714-A86B-492A-AC18-2DBD1D17EB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2656077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590A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CDF667B-1AA2-4981-B115-B40754E318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98013" y="299622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49B542E-285C-4837-B671-696E4DC001E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87432" y="2563381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9A45E63-A970-497F-9E53-8D389A8457F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787433" y="2982336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Oval 20">
            <a:extLst>
              <a:ext uri="{FF2B5EF4-FFF2-40B4-BE49-F238E27FC236}">
                <a16:creationId xmlns:a16="http://schemas.microsoft.com/office/drawing/2014/main" id="{F88C0E2C-E612-44EC-9013-AD68C65B67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4780395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A600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411BF5D-81E9-4AC1-AE6D-53DC26B2ECA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498013" y="510784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2676D57-7318-4038-8625-151D4DD857E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87432" y="4647262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AB98D4C-7485-4468-A517-B5B92B48F38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87433" y="5066217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990504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id="{51CA337D-4B25-44C1-847A-AC0D74277B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192909"/>
            <a:ext cx="5591944" cy="526042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00059" y="119290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0059" y="186504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0059" y="253718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0059" y="320932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00059" y="388146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00059" y="455360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00059" y="522574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00059" y="589788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4097955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A66D25-366C-4142-B5D9-9A4107D8B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9A63D1-B6C5-4F10-ABD1-7445EB2D8ADC}"/>
              </a:ext>
            </a:extLst>
          </p:cNvPr>
          <p:cNvSpPr/>
          <p:nvPr userDrawn="1"/>
        </p:nvSpPr>
        <p:spPr>
          <a:xfrm>
            <a:off x="407988" y="2423886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AE9BC27-7262-47DA-99EA-4AB1F52A8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016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E24DC023-E500-4824-A661-003A568299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015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9DEBB0-4052-42E9-B8A1-20FEA957F747}"/>
              </a:ext>
            </a:extLst>
          </p:cNvPr>
          <p:cNvSpPr/>
          <p:nvPr userDrawn="1"/>
        </p:nvSpPr>
        <p:spPr>
          <a:xfrm>
            <a:off x="4333875" y="2423886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BBF7568-EC18-40A1-B3C2-1E64D0BFDEF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50903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rgbClr val="336B7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B1037A2D-940F-4255-984B-C4A7AABBB72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650903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0917E2-630D-4941-BA4B-7EB65D4A7850}"/>
              </a:ext>
            </a:extLst>
          </p:cNvPr>
          <p:cNvSpPr/>
          <p:nvPr userDrawn="1"/>
        </p:nvSpPr>
        <p:spPr>
          <a:xfrm>
            <a:off x="8259763" y="2406300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C0A1379-EE65-47B3-B113-45D1ED57400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576791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rgbClr val="BA2980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849E3D5-EF9E-46F2-9C73-58806A392B3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576791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67796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white Pi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47484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blue Pi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72295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9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2298288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smtClean="0"/>
              <a:t>9/2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1880561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9/22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1840562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9/22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8973346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9/22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4621035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smtClean="0"/>
              <a:t>9/2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208175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9/2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1211374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85000"/>
                  <a:lumOff val="1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  <a:lumOff val="1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/>
              <a:pPr/>
              <a:t>9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27">
            <a:extLst>
              <a:ext uri="{FF2B5EF4-FFF2-40B4-BE49-F238E27FC236}">
                <a16:creationId xmlns:a16="http://schemas.microsoft.com/office/drawing/2014/main" id="{789EBB60-7F2A-529F-C9D8-50EA0A28A4F8}"/>
              </a:ext>
            </a:extLst>
          </p:cNvPr>
          <p:cNvSpPr/>
          <p:nvPr userDrawn="1"/>
        </p:nvSpPr>
        <p:spPr>
          <a:xfrm>
            <a:off x="404813" y="6517871"/>
            <a:ext cx="341084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0" dirty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IBM Applied Data Science Capstone  |  Daniel Barnes  |  2022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FB8009C9-B33A-F1DE-C513-CD8EF5F456F6}"/>
              </a:ext>
            </a:extLst>
          </p:cNvPr>
          <p:cNvSpPr/>
          <p:nvPr userDrawn="1"/>
        </p:nvSpPr>
        <p:spPr>
          <a:xfrm>
            <a:off x="1174412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tângulo 43">
            <a:extLst>
              <a:ext uri="{FF2B5EF4-FFF2-40B4-BE49-F238E27FC236}">
                <a16:creationId xmlns:a16="http://schemas.microsoft.com/office/drawing/2014/main" id="{B23A5228-4A75-BA13-B71F-6310457A38D5}"/>
              </a:ext>
            </a:extLst>
          </p:cNvPr>
          <p:cNvSpPr/>
          <p:nvPr userDrawn="1"/>
        </p:nvSpPr>
        <p:spPr>
          <a:xfrm>
            <a:off x="1174412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Groupe 423">
            <a:extLst>
              <a:ext uri="{FF2B5EF4-FFF2-40B4-BE49-F238E27FC236}">
                <a16:creationId xmlns:a16="http://schemas.microsoft.com/office/drawing/2014/main" id="{2BD12432-610F-A465-38CF-4DF2D46449E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352585" y="269452"/>
            <a:ext cx="674150" cy="633600"/>
            <a:chOff x="1661393" y="5291640"/>
            <a:chExt cx="913245" cy="858313"/>
          </a:xfrm>
        </p:grpSpPr>
        <p:sp>
          <p:nvSpPr>
            <p:cNvPr id="12" name="Freeform 41">
              <a:extLst>
                <a:ext uri="{FF2B5EF4-FFF2-40B4-BE49-F238E27FC236}">
                  <a16:creationId xmlns:a16="http://schemas.microsoft.com/office/drawing/2014/main" id="{02873132-257E-E7DB-E84E-EA3133A9A1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1393" y="5291640"/>
              <a:ext cx="913245" cy="858313"/>
            </a:xfrm>
            <a:custGeom>
              <a:avLst/>
              <a:gdLst>
                <a:gd name="T0" fmla="*/ 51 w 440"/>
                <a:gd name="T1" fmla="*/ 298 h 410"/>
                <a:gd name="T2" fmla="*/ 128 w 440"/>
                <a:gd name="T3" fmla="*/ 48 h 410"/>
                <a:gd name="T4" fmla="*/ 389 w 440"/>
                <a:gd name="T5" fmla="*/ 122 h 410"/>
                <a:gd name="T6" fmla="*/ 307 w 440"/>
                <a:gd name="T7" fmla="*/ 362 h 410"/>
                <a:gd name="T8" fmla="*/ 51 w 440"/>
                <a:gd name="T9" fmla="*/ 298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" h="410">
                  <a:moveTo>
                    <a:pt x="51" y="298"/>
                  </a:moveTo>
                  <a:cubicBezTo>
                    <a:pt x="0" y="209"/>
                    <a:pt x="34" y="97"/>
                    <a:pt x="128" y="48"/>
                  </a:cubicBezTo>
                  <a:cubicBezTo>
                    <a:pt x="221" y="0"/>
                    <a:pt x="338" y="33"/>
                    <a:pt x="389" y="122"/>
                  </a:cubicBezTo>
                  <a:cubicBezTo>
                    <a:pt x="440" y="212"/>
                    <a:pt x="401" y="313"/>
                    <a:pt x="307" y="362"/>
                  </a:cubicBezTo>
                  <a:cubicBezTo>
                    <a:pt x="214" y="410"/>
                    <a:pt x="102" y="388"/>
                    <a:pt x="51" y="298"/>
                  </a:cubicBezTo>
                </a:path>
              </a:pathLst>
            </a:custGeom>
            <a:noFill/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/>
              <a:endParaRPr lang="en-US" sz="1600" dirty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99F073C3-E959-B8C5-C179-287D2D605F6C}"/>
                </a:ext>
              </a:extLst>
            </p:cNvPr>
            <p:cNvSpPr>
              <a:spLocks noEditPoints="1"/>
            </p:cNvSpPr>
            <p:nvPr/>
          </p:nvSpPr>
          <p:spPr bwMode="auto">
            <a:xfrm rot="1325401">
              <a:off x="1979933" y="5459413"/>
              <a:ext cx="276400" cy="562730"/>
            </a:xfrm>
            <a:custGeom>
              <a:avLst/>
              <a:gdLst>
                <a:gd name="T0" fmla="*/ 202 w 402"/>
                <a:gd name="T1" fmla="*/ 814 h 814"/>
                <a:gd name="T2" fmla="*/ 179 w 402"/>
                <a:gd name="T3" fmla="*/ 751 h 814"/>
                <a:gd name="T4" fmla="*/ 163 w 402"/>
                <a:gd name="T5" fmla="*/ 706 h 814"/>
                <a:gd name="T6" fmla="*/ 173 w 402"/>
                <a:gd name="T7" fmla="*/ 683 h 814"/>
                <a:gd name="T8" fmla="*/ 202 w 402"/>
                <a:gd name="T9" fmla="*/ 699 h 814"/>
                <a:gd name="T10" fmla="*/ 230 w 402"/>
                <a:gd name="T11" fmla="*/ 683 h 814"/>
                <a:gd name="T12" fmla="*/ 241 w 402"/>
                <a:gd name="T13" fmla="*/ 706 h 814"/>
                <a:gd name="T14" fmla="*/ 225 w 402"/>
                <a:gd name="T15" fmla="*/ 751 h 814"/>
                <a:gd name="T16" fmla="*/ 202 w 402"/>
                <a:gd name="T17" fmla="*/ 814 h 814"/>
                <a:gd name="T18" fmla="*/ 353 w 402"/>
                <a:gd name="T19" fmla="*/ 683 h 814"/>
                <a:gd name="T20" fmla="*/ 285 w 402"/>
                <a:gd name="T21" fmla="*/ 628 h 814"/>
                <a:gd name="T22" fmla="*/ 308 w 402"/>
                <a:gd name="T23" fmla="*/ 494 h 814"/>
                <a:gd name="T24" fmla="*/ 353 w 402"/>
                <a:gd name="T25" fmla="*/ 683 h 814"/>
                <a:gd name="T26" fmla="*/ 50 w 402"/>
                <a:gd name="T27" fmla="*/ 683 h 814"/>
                <a:gd name="T28" fmla="*/ 98 w 402"/>
                <a:gd name="T29" fmla="*/ 492 h 814"/>
                <a:gd name="T30" fmla="*/ 119 w 402"/>
                <a:gd name="T31" fmla="*/ 628 h 814"/>
                <a:gd name="T32" fmla="*/ 50 w 402"/>
                <a:gd name="T33" fmla="*/ 683 h 814"/>
                <a:gd name="T34" fmla="*/ 213 w 402"/>
                <a:gd name="T35" fmla="*/ 646 h 814"/>
                <a:gd name="T36" fmla="*/ 213 w 402"/>
                <a:gd name="T37" fmla="*/ 505 h 814"/>
                <a:gd name="T38" fmla="*/ 202 w 402"/>
                <a:gd name="T39" fmla="*/ 482 h 814"/>
                <a:gd name="T40" fmla="*/ 190 w 402"/>
                <a:gd name="T41" fmla="*/ 505 h 814"/>
                <a:gd name="T42" fmla="*/ 190 w 402"/>
                <a:gd name="T43" fmla="*/ 646 h 814"/>
                <a:gd name="T44" fmla="*/ 157 w 402"/>
                <a:gd name="T45" fmla="*/ 646 h 814"/>
                <a:gd name="T46" fmla="*/ 94 w 402"/>
                <a:gd name="T47" fmla="*/ 189 h 814"/>
                <a:gd name="T48" fmla="*/ 202 w 402"/>
                <a:gd name="T49" fmla="*/ 0 h 814"/>
                <a:gd name="T50" fmla="*/ 310 w 402"/>
                <a:gd name="T51" fmla="*/ 189 h 814"/>
                <a:gd name="T52" fmla="*/ 247 w 402"/>
                <a:gd name="T53" fmla="*/ 646 h 814"/>
                <a:gd name="T54" fmla="*/ 213 w 402"/>
                <a:gd name="T55" fmla="*/ 646 h 814"/>
                <a:gd name="T56" fmla="*/ 202 w 402"/>
                <a:gd name="T57" fmla="*/ 120 h 814"/>
                <a:gd name="T58" fmla="*/ 154 w 402"/>
                <a:gd name="T59" fmla="*/ 167 h 814"/>
                <a:gd name="T60" fmla="*/ 202 w 402"/>
                <a:gd name="T61" fmla="*/ 215 h 814"/>
                <a:gd name="T62" fmla="*/ 249 w 402"/>
                <a:gd name="T63" fmla="*/ 167 h 814"/>
                <a:gd name="T64" fmla="*/ 202 w 402"/>
                <a:gd name="T65" fmla="*/ 120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2" h="814">
                  <a:moveTo>
                    <a:pt x="202" y="814"/>
                  </a:moveTo>
                  <a:cubicBezTo>
                    <a:pt x="195" y="792"/>
                    <a:pt x="186" y="770"/>
                    <a:pt x="179" y="751"/>
                  </a:cubicBezTo>
                  <a:cubicBezTo>
                    <a:pt x="171" y="732"/>
                    <a:pt x="163" y="713"/>
                    <a:pt x="163" y="706"/>
                  </a:cubicBezTo>
                  <a:cubicBezTo>
                    <a:pt x="163" y="697"/>
                    <a:pt x="167" y="689"/>
                    <a:pt x="173" y="683"/>
                  </a:cubicBezTo>
                  <a:cubicBezTo>
                    <a:pt x="178" y="692"/>
                    <a:pt x="189" y="699"/>
                    <a:pt x="202" y="699"/>
                  </a:cubicBezTo>
                  <a:cubicBezTo>
                    <a:pt x="214" y="699"/>
                    <a:pt x="225" y="692"/>
                    <a:pt x="230" y="683"/>
                  </a:cubicBezTo>
                  <a:cubicBezTo>
                    <a:pt x="237" y="689"/>
                    <a:pt x="241" y="697"/>
                    <a:pt x="241" y="706"/>
                  </a:cubicBezTo>
                  <a:cubicBezTo>
                    <a:pt x="241" y="713"/>
                    <a:pt x="233" y="732"/>
                    <a:pt x="225" y="751"/>
                  </a:cubicBezTo>
                  <a:cubicBezTo>
                    <a:pt x="217" y="770"/>
                    <a:pt x="208" y="792"/>
                    <a:pt x="202" y="814"/>
                  </a:cubicBezTo>
                  <a:close/>
                  <a:moveTo>
                    <a:pt x="353" y="683"/>
                  </a:moveTo>
                  <a:cubicBezTo>
                    <a:pt x="335" y="657"/>
                    <a:pt x="312" y="638"/>
                    <a:pt x="285" y="628"/>
                  </a:cubicBezTo>
                  <a:cubicBezTo>
                    <a:pt x="290" y="600"/>
                    <a:pt x="299" y="550"/>
                    <a:pt x="308" y="494"/>
                  </a:cubicBezTo>
                  <a:cubicBezTo>
                    <a:pt x="351" y="532"/>
                    <a:pt x="402" y="600"/>
                    <a:pt x="353" y="683"/>
                  </a:cubicBezTo>
                  <a:close/>
                  <a:moveTo>
                    <a:pt x="50" y="683"/>
                  </a:moveTo>
                  <a:cubicBezTo>
                    <a:pt x="0" y="597"/>
                    <a:pt x="60" y="526"/>
                    <a:pt x="98" y="492"/>
                  </a:cubicBezTo>
                  <a:cubicBezTo>
                    <a:pt x="107" y="548"/>
                    <a:pt x="115" y="599"/>
                    <a:pt x="119" y="628"/>
                  </a:cubicBezTo>
                  <a:cubicBezTo>
                    <a:pt x="92" y="638"/>
                    <a:pt x="69" y="657"/>
                    <a:pt x="50" y="683"/>
                  </a:cubicBezTo>
                  <a:close/>
                  <a:moveTo>
                    <a:pt x="213" y="646"/>
                  </a:moveTo>
                  <a:cubicBezTo>
                    <a:pt x="213" y="505"/>
                    <a:pt x="213" y="505"/>
                    <a:pt x="213" y="505"/>
                  </a:cubicBezTo>
                  <a:cubicBezTo>
                    <a:pt x="202" y="482"/>
                    <a:pt x="202" y="482"/>
                    <a:pt x="202" y="482"/>
                  </a:cubicBezTo>
                  <a:cubicBezTo>
                    <a:pt x="190" y="505"/>
                    <a:pt x="190" y="505"/>
                    <a:pt x="190" y="505"/>
                  </a:cubicBezTo>
                  <a:cubicBezTo>
                    <a:pt x="190" y="646"/>
                    <a:pt x="190" y="646"/>
                    <a:pt x="190" y="646"/>
                  </a:cubicBezTo>
                  <a:cubicBezTo>
                    <a:pt x="157" y="646"/>
                    <a:pt x="157" y="646"/>
                    <a:pt x="157" y="646"/>
                  </a:cubicBezTo>
                  <a:cubicBezTo>
                    <a:pt x="149" y="595"/>
                    <a:pt x="94" y="242"/>
                    <a:pt x="94" y="189"/>
                  </a:cubicBezTo>
                  <a:cubicBezTo>
                    <a:pt x="94" y="95"/>
                    <a:pt x="181" y="17"/>
                    <a:pt x="202" y="0"/>
                  </a:cubicBezTo>
                  <a:cubicBezTo>
                    <a:pt x="223" y="17"/>
                    <a:pt x="310" y="96"/>
                    <a:pt x="310" y="189"/>
                  </a:cubicBezTo>
                  <a:cubicBezTo>
                    <a:pt x="310" y="290"/>
                    <a:pt x="255" y="599"/>
                    <a:pt x="247" y="646"/>
                  </a:cubicBezTo>
                  <a:lnTo>
                    <a:pt x="213" y="646"/>
                  </a:lnTo>
                  <a:close/>
                  <a:moveTo>
                    <a:pt x="202" y="120"/>
                  </a:moveTo>
                  <a:cubicBezTo>
                    <a:pt x="176" y="120"/>
                    <a:pt x="154" y="141"/>
                    <a:pt x="154" y="167"/>
                  </a:cubicBezTo>
                  <a:cubicBezTo>
                    <a:pt x="154" y="193"/>
                    <a:pt x="176" y="215"/>
                    <a:pt x="202" y="215"/>
                  </a:cubicBezTo>
                  <a:cubicBezTo>
                    <a:pt x="228" y="215"/>
                    <a:pt x="249" y="193"/>
                    <a:pt x="249" y="167"/>
                  </a:cubicBezTo>
                  <a:cubicBezTo>
                    <a:pt x="249" y="141"/>
                    <a:pt x="228" y="120"/>
                    <a:pt x="202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8307196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7" r:id="rId4"/>
    <p:sldLayoutId id="2147484078" r:id="rId5"/>
    <p:sldLayoutId id="2147484079" r:id="rId6"/>
    <p:sldLayoutId id="2147484080" r:id="rId7"/>
    <p:sldLayoutId id="2147484081" r:id="rId8"/>
    <p:sldLayoutId id="2147484082" r:id="rId9"/>
    <p:sldLayoutId id="2147484083" r:id="rId10"/>
    <p:sldLayoutId id="2147484084" r:id="rId11"/>
    <p:sldLayoutId id="2147484085" r:id="rId12"/>
    <p:sldLayoutId id="2147484086" r:id="rId13"/>
    <p:sldLayoutId id="2147484087" r:id="rId14"/>
    <p:sldLayoutId id="2147484088" r:id="rId15"/>
    <p:sldLayoutId id="2147484089" r:id="rId16"/>
    <p:sldLayoutId id="2147484090" r:id="rId17"/>
    <p:sldLayoutId id="2147484091" r:id="rId18"/>
    <p:sldLayoutId id="2147484092" r:id="rId19"/>
    <p:sldLayoutId id="2147484093" r:id="rId20"/>
    <p:sldLayoutId id="2147484094" r:id="rId21"/>
    <p:sldLayoutId id="2147483965" r:id="rId22"/>
    <p:sldLayoutId id="2147484021" r:id="rId23"/>
    <p:sldLayoutId id="2147484020" r:id="rId24"/>
    <p:sldLayoutId id="2147484026" r:id="rId25"/>
    <p:sldLayoutId id="2147483981" r:id="rId26"/>
    <p:sldLayoutId id="2147483983" r:id="rId27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hyperlink" Target="https://github.com/DanielBarnes18/IBM-Data-Science-Professional-Certificate/blob/main/10.%20Applied%20Data%20Science%20Capstone/03.%20Exploratory%20Data%20Analysis/03.%20Exploratory%20Data%20Analysis%20-%20Data%20Visualization.ipynb" TargetMode="External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github.com/DanielBarnes18/IBM-Data-Science-Professional-Certificate/blob/main/10.%20Applied%20Data%20Science%20Capstone/03.%20Exploratory%20Data%20Analysis/03.%20Exploratory%20Data%20Analysis%20-%20SQL.ipynb" TargetMode="Externa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github.com/DanielBarnes18/IBM-Data-Science-Professional-Certificate/blob/main/10.%20Applied%20Data%20Science%20Capstone/04.%20Interactive%20Visual%20Analytics/04.%20Interactive%20Visual%20Analytics%20-%20Folium.ipynb" TargetMode="Externa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github.com/DanielBarnes18/IBM-Data-Science-Professional-Certificate/blob/main/10.%20Applied%20Data%20Science%20Capstone/04.%20Interactive%20Visual%20Analytics/04.%20Interactive%20Visual%20Analytics%20-%20Plotly%20Dash%20dashboard_%20spacex_dash_app.py" TargetMode="Externa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github.com/DanielBarnes18/IBM-Data-Science-Professional-Certificate/blob/main/10.%20Applied%20Data%20Science%20Capstone/05.%20Predictive%20Analysis%20(Classification)/05.%20Predictive%20Analysis%20(Classification).ipynb" TargetMode="Externa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slide" Target="slide7.xml"/><Relationship Id="rId3" Type="http://schemas.openxmlformats.org/officeDocument/2006/relationships/tags" Target="../tags/tag4.xml"/><Relationship Id="rId21" Type="http://schemas.openxmlformats.org/officeDocument/2006/relationships/image" Target="../media/image2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slide" Target="slide16.xml"/><Relationship Id="rId2" Type="http://schemas.openxmlformats.org/officeDocument/2006/relationships/tags" Target="../tags/tag3.xml"/><Relationship Id="rId16" Type="http://schemas.openxmlformats.org/officeDocument/2006/relationships/slide" Target="slide17.xml"/><Relationship Id="rId20" Type="http://schemas.openxmlformats.org/officeDocument/2006/relationships/slide" Target="slide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slideLayout" Target="../slideLayouts/slideLayout18.xml"/><Relationship Id="rId10" Type="http://schemas.openxmlformats.org/officeDocument/2006/relationships/tags" Target="../tags/tag11.xml"/><Relationship Id="rId19" Type="http://schemas.openxmlformats.org/officeDocument/2006/relationships/slide" Target="slide5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76.png"/><Relationship Id="rId7" Type="http://schemas.openxmlformats.org/officeDocument/2006/relationships/image" Target="../media/image750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82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7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.png"/><Relationship Id="rId4" Type="http://schemas.openxmlformats.org/officeDocument/2006/relationships/image" Target="../media/image810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.png"/><Relationship Id="rId4" Type="http://schemas.openxmlformats.org/officeDocument/2006/relationships/image" Target="../media/image91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47.png"/><Relationship Id="rId7" Type="http://schemas.openxmlformats.org/officeDocument/2006/relationships/image" Target="../media/image3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1.png"/><Relationship Id="rId5" Type="http://schemas.openxmlformats.org/officeDocument/2006/relationships/image" Target="../media/image87.png"/><Relationship Id="rId4" Type="http://schemas.openxmlformats.org/officeDocument/2006/relationships/image" Target="../media/image83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.png"/><Relationship Id="rId4" Type="http://schemas.openxmlformats.org/officeDocument/2006/relationships/image" Target="../media/image94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12" Type="http://schemas.openxmlformats.org/officeDocument/2006/relationships/hyperlink" Target="https://github.com/DanielBarnes18/IBM-Data-Science-Professional-Certificate/blob/main/10.%20Applied%20Data%20Science%20Capstone/01.%20Data%20Collection/01.%20Data%20Collection%20-%20API.ipynb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10" Type="http://schemas.openxmlformats.org/officeDocument/2006/relationships/image" Target="../media/image2.png"/><Relationship Id="rId4" Type="http://schemas.openxmlformats.org/officeDocument/2006/relationships/image" Target="../media/image30.png"/><Relationship Id="rId9" Type="http://schemas.openxmlformats.org/officeDocument/2006/relationships/hyperlink" Target="https://github.com/DanielBarnes18/IBM-Data-Science-Professional-Certificate/blob/main/10.%20Applied%20Data%20Science%20Capstone/01.%20Data%20Collection/01.%20Data%20Collection%20-%20Web%20Scraping.ipynb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2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6" Type="http://schemas.openxmlformats.org/officeDocument/2006/relationships/hyperlink" Target="https://github.com/DanielBarnes18/IBM-Data-Science-Professional-Certificate/blob/main/10.%20Applied%20Data%20Science%20Capstone/02.%20Data%20Wrangling/02.%20Data%20Wrangling.ipynb" TargetMode="Externa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2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Relationship Id="rId6" Type="http://schemas.openxmlformats.org/officeDocument/2006/relationships/hyperlink" Target="https://github.com/DanielBarnes18/IBM-Data-Science-Professional-Certificate/blob/main/10.%20Applied%20Data%20Science%20Capstone/02.%20Data%20Wrangling/02.%20Data%20Wrangling.ipynb" TargetMode="Externa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6A761A44-A936-4382-8A16-7ED6A2903D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5459EE73-661E-48AA-A374-BF2B850F581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85000"/>
                  <a:lumOff val="1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D653EA91-5E43-427F-B0AB-1B8A496BC6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  <a:lumOff val="1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 23">
              <a:extLst>
                <a:ext uri="{FF2B5EF4-FFF2-40B4-BE49-F238E27FC236}">
                  <a16:creationId xmlns:a16="http://schemas.microsoft.com/office/drawing/2014/main" id="{57571081-E136-40F9-B123-3A16F53BEB1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4" name="Rectangle 25">
              <a:extLst>
                <a:ext uri="{FF2B5EF4-FFF2-40B4-BE49-F238E27FC236}">
                  <a16:creationId xmlns:a16="http://schemas.microsoft.com/office/drawing/2014/main" id="{73197C11-EFC2-4F71-BEFF-B7EE3EEFFB3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5" name="Isosceles Triangle 34">
              <a:extLst>
                <a:ext uri="{FF2B5EF4-FFF2-40B4-BE49-F238E27FC236}">
                  <a16:creationId xmlns:a16="http://schemas.microsoft.com/office/drawing/2014/main" id="{074C7561-7217-4DBC-8C63-2BB8560D62C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6" name="Rectangle 27">
              <a:extLst>
                <a:ext uri="{FF2B5EF4-FFF2-40B4-BE49-F238E27FC236}">
                  <a16:creationId xmlns:a16="http://schemas.microsoft.com/office/drawing/2014/main" id="{6EB4E4EC-EA7F-4A46-9AF5-7E3E4E543B3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7" name="Rectangle 28">
              <a:extLst>
                <a:ext uri="{FF2B5EF4-FFF2-40B4-BE49-F238E27FC236}">
                  <a16:creationId xmlns:a16="http://schemas.microsoft.com/office/drawing/2014/main" id="{9048D13B-C50D-4EF9-AB6D-86713B7D438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8" name="Rectangle 29">
              <a:extLst>
                <a:ext uri="{FF2B5EF4-FFF2-40B4-BE49-F238E27FC236}">
                  <a16:creationId xmlns:a16="http://schemas.microsoft.com/office/drawing/2014/main" id="{8213FFC7-C869-40A9-8DBD-B311B342E74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9" name="Isosceles Triangle 38">
              <a:extLst>
                <a:ext uri="{FF2B5EF4-FFF2-40B4-BE49-F238E27FC236}">
                  <a16:creationId xmlns:a16="http://schemas.microsoft.com/office/drawing/2014/main" id="{A029FB91-93F5-4D40-9014-8D5108951E7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40" name="Isosceles Triangle 39">
              <a:extLst>
                <a:ext uri="{FF2B5EF4-FFF2-40B4-BE49-F238E27FC236}">
                  <a16:creationId xmlns:a16="http://schemas.microsoft.com/office/drawing/2014/main" id="{F6022FD2-DE49-41E6-B3BF-B113018CA2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pic>
        <p:nvPicPr>
          <p:cNvPr id="10" name="Picture Placeholder 9" descr="A picture containing outdoor, sky, fountain, rainbow&#10;&#10;Description automatically generated">
            <a:extLst>
              <a:ext uri="{FF2B5EF4-FFF2-40B4-BE49-F238E27FC236}">
                <a16:creationId xmlns:a16="http://schemas.microsoft.com/office/drawing/2014/main" id="{BDA10515-EEE4-4D39-90D6-4F77CB065BB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91" t="12020" b="11372"/>
          <a:stretch/>
        </p:blipFill>
        <p:spPr>
          <a:xfrm>
            <a:off x="1" y="10"/>
            <a:ext cx="12191999" cy="6857990"/>
          </a:xfrm>
          <a:prstGeom prst="rect">
            <a:avLst/>
          </a:prstGeom>
        </p:spPr>
      </p:pic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832EB25C-DD4B-4B00-866F-7285459080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7" name="Parallelogram 43">
            <a:extLst>
              <a:ext uri="{FF2B5EF4-FFF2-40B4-BE49-F238E27FC236}">
                <a16:creationId xmlns:a16="http://schemas.microsoft.com/office/drawing/2014/main" id="{188A7307-991C-4F29-BE00-08B39B63B1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684541" y="0"/>
            <a:ext cx="7315200" cy="6858000"/>
          </a:xfrm>
          <a:prstGeom prst="parallelogram">
            <a:avLst>
              <a:gd name="adj" fmla="val 14937"/>
            </a:avLst>
          </a:prstGeom>
          <a:solidFill>
            <a:schemeClr val="bg1">
              <a:alpha val="8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C8345E99-1DB1-4AD8-B840-EDBE927B02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9371012" y="0"/>
            <a:ext cx="1219200" cy="685800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C1F8DFB-4FF5-4F08-B50C-F390112345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425267" y="3681413"/>
            <a:ext cx="4763558" cy="3176587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Rectangle 23">
            <a:extLst>
              <a:ext uri="{FF2B5EF4-FFF2-40B4-BE49-F238E27FC236}">
                <a16:creationId xmlns:a16="http://schemas.microsoft.com/office/drawing/2014/main" id="{E7B687B0-7476-474B-9459-AB1DC52562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181476" y="-8467"/>
            <a:ext cx="3007349" cy="6866467"/>
          </a:xfrm>
          <a:custGeom>
            <a:avLst/>
            <a:gdLst/>
            <a:ahLst/>
            <a:cxnLst/>
            <a:rect l="l" t="t" r="r" b="b"/>
            <a:pathLst>
              <a:path w="3007349" h="6866467">
                <a:moveTo>
                  <a:pt x="2045532" y="0"/>
                </a:moveTo>
                <a:lnTo>
                  <a:pt x="3007349" y="0"/>
                </a:lnTo>
                <a:lnTo>
                  <a:pt x="3007349" y="6866467"/>
                </a:lnTo>
                <a:lnTo>
                  <a:pt x="0" y="6866467"/>
                </a:lnTo>
                <a:lnTo>
                  <a:pt x="2045532" y="0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52" name="Rectangle 25">
            <a:extLst>
              <a:ext uri="{FF2B5EF4-FFF2-40B4-BE49-F238E27FC236}">
                <a16:creationId xmlns:a16="http://schemas.microsoft.com/office/drawing/2014/main" id="{AB2E67F6-0308-49E3-96B0-4965A1620B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603442" y="-8467"/>
            <a:ext cx="2588558" cy="6866467"/>
          </a:xfrm>
          <a:custGeom>
            <a:avLst/>
            <a:gdLst/>
            <a:ahLst/>
            <a:cxnLst/>
            <a:rect l="l" t="t" r="r" b="b"/>
            <a:pathLst>
              <a:path w="2573311" h="6866467">
                <a:moveTo>
                  <a:pt x="0" y="0"/>
                </a:moveTo>
                <a:lnTo>
                  <a:pt x="2573311" y="0"/>
                </a:lnTo>
                <a:lnTo>
                  <a:pt x="2573311" y="6866467"/>
                </a:lnTo>
                <a:lnTo>
                  <a:pt x="1202336" y="686646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54" name="Isosceles Triangle 53">
            <a:extLst>
              <a:ext uri="{FF2B5EF4-FFF2-40B4-BE49-F238E27FC236}">
                <a16:creationId xmlns:a16="http://schemas.microsoft.com/office/drawing/2014/main" id="{7026DEEB-B30A-4061-B89E-0FA2399F93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932333" y="3048000"/>
            <a:ext cx="3259667" cy="3810000"/>
          </a:xfrm>
          <a:prstGeom prst="triangle">
            <a:avLst>
              <a:gd name="adj" fmla="val 100000"/>
            </a:avLst>
          </a:prstGeom>
          <a:solidFill>
            <a:schemeClr val="accent2">
              <a:alpha val="7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F97F49A-2076-4D7A-8093-50A211BBE4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04200" y="1678665"/>
            <a:ext cx="4569803" cy="2369131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4200">
                <a:solidFill>
                  <a:schemeClr val="accent1"/>
                </a:solidFill>
                <a:latin typeface="+mj-lt"/>
              </a:rPr>
              <a:t>IBM Data Science Capstone Project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50674C3-7EDD-4667-823F-2182E9DDAA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00964" y="4050832"/>
            <a:ext cx="4573037" cy="1096899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r">
              <a:lnSpc>
                <a:spcPct val="90000"/>
              </a:lnSpc>
            </a:pPr>
            <a:endParaRPr lang="en-US" sz="180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r">
              <a:lnSpc>
                <a:spcPct val="90000"/>
              </a:lnSpc>
            </a:pPr>
            <a:r>
              <a:rPr lang="en-US" sz="1800">
                <a:solidFill>
                  <a:schemeClr val="tx1">
                    <a:lumMod val="50000"/>
                    <a:lumOff val="50000"/>
                  </a:schemeClr>
                </a:solidFill>
              </a:rPr>
              <a:t>Mohamed Khalil Guesmi</a:t>
            </a:r>
          </a:p>
          <a:p>
            <a:pPr algn="r">
              <a:lnSpc>
                <a:spcPct val="90000"/>
              </a:lnSpc>
            </a:pPr>
            <a:r>
              <a:rPr lang="en-US" sz="1800">
                <a:solidFill>
                  <a:schemeClr val="tx1">
                    <a:lumMod val="50000"/>
                    <a:lumOff val="50000"/>
                  </a:schemeClr>
                </a:solidFill>
              </a:rPr>
              <a:t>22/09/2022</a:t>
            </a:r>
          </a:p>
        </p:txBody>
      </p:sp>
      <p:sp>
        <p:nvSpPr>
          <p:cNvPr id="56" name="Rectangle 27">
            <a:extLst>
              <a:ext uri="{FF2B5EF4-FFF2-40B4-BE49-F238E27FC236}">
                <a16:creationId xmlns:a16="http://schemas.microsoft.com/office/drawing/2014/main" id="{BD29FF26-681C-4E29-936F-972C081E58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334500" y="-8467"/>
            <a:ext cx="2854326" cy="6866467"/>
          </a:xfrm>
          <a:custGeom>
            <a:avLst/>
            <a:gdLst/>
            <a:ahLst/>
            <a:cxnLst/>
            <a:rect l="l" t="t" r="r" b="b"/>
            <a:pathLst>
              <a:path w="2858013" h="6866467">
                <a:moveTo>
                  <a:pt x="0" y="0"/>
                </a:moveTo>
                <a:lnTo>
                  <a:pt x="2858013" y="0"/>
                </a:lnTo>
                <a:lnTo>
                  <a:pt x="2858013" y="6866467"/>
                </a:lnTo>
                <a:lnTo>
                  <a:pt x="2473942" y="686646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4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58" name="Rectangle 28">
            <a:extLst>
              <a:ext uri="{FF2B5EF4-FFF2-40B4-BE49-F238E27FC236}">
                <a16:creationId xmlns:a16="http://schemas.microsoft.com/office/drawing/2014/main" id="{819FD6C5-CB99-4C76-9E9F-0D2A0D1C04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898730" y="-8467"/>
            <a:ext cx="1290094" cy="6866467"/>
          </a:xfrm>
          <a:custGeom>
            <a:avLst/>
            <a:gdLst/>
            <a:ahLst/>
            <a:cxnLst/>
            <a:rect l="l" t="t" r="r" b="b"/>
            <a:pathLst>
              <a:path w="1290094" h="6858000">
                <a:moveTo>
                  <a:pt x="1019735" y="0"/>
                </a:moveTo>
                <a:lnTo>
                  <a:pt x="1290094" y="0"/>
                </a:lnTo>
                <a:lnTo>
                  <a:pt x="1290094" y="6858000"/>
                </a:lnTo>
                <a:lnTo>
                  <a:pt x="0" y="6858000"/>
                </a:lnTo>
                <a:lnTo>
                  <a:pt x="1019735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0" name="Rectangle 29">
            <a:extLst>
              <a:ext uri="{FF2B5EF4-FFF2-40B4-BE49-F238E27FC236}">
                <a16:creationId xmlns:a16="http://schemas.microsoft.com/office/drawing/2014/main" id="{61B57FE0-8BC0-4391-98C7-D3EA0AC32E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938999" y="-8467"/>
            <a:ext cx="1249825" cy="6866467"/>
          </a:xfrm>
          <a:custGeom>
            <a:avLst/>
            <a:gdLst/>
            <a:ahLst/>
            <a:cxnLst/>
            <a:rect l="l" t="t" r="r" b="b"/>
            <a:pathLst>
              <a:path w="1249825" h="6858000">
                <a:moveTo>
                  <a:pt x="0" y="0"/>
                </a:moveTo>
                <a:lnTo>
                  <a:pt x="1249825" y="0"/>
                </a:lnTo>
                <a:lnTo>
                  <a:pt x="1249825" y="6858000"/>
                </a:lnTo>
                <a:lnTo>
                  <a:pt x="1109382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2" name="Isosceles Triangle 61">
            <a:extLst>
              <a:ext uri="{FF2B5EF4-FFF2-40B4-BE49-F238E27FC236}">
                <a16:creationId xmlns:a16="http://schemas.microsoft.com/office/drawing/2014/main" id="{BE0CE3EE-50D8-4235-8A71-1FBCA2322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371666" y="3589867"/>
            <a:ext cx="1817159" cy="3268133"/>
          </a:xfrm>
          <a:prstGeom prst="triangle">
            <a:avLst>
              <a:gd name="adj" fmla="val 100000"/>
            </a:avLst>
          </a:prstGeom>
          <a:solidFill>
            <a:schemeClr val="accent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6051997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332" y="235246"/>
            <a:ext cx="10099186" cy="1075183"/>
          </a:xfrm>
        </p:spPr>
        <p:txBody>
          <a:bodyPr/>
          <a:lstStyle/>
          <a:p>
            <a:r>
              <a:rPr lang="en-US" dirty="0">
                <a:solidFill>
                  <a:srgbClr val="61AFEF"/>
                </a:solidFill>
              </a:rPr>
              <a:t>Exploratory data analysis (eda) </a:t>
            </a:r>
            <a:r>
              <a:rPr lang="en-US" dirty="0">
                <a:solidFill>
                  <a:schemeClr val="bg1"/>
                </a:solidFill>
              </a:rPr>
              <a:t>– </a:t>
            </a:r>
            <a:r>
              <a:rPr lang="en-US" dirty="0">
                <a:solidFill>
                  <a:srgbClr val="C211DF"/>
                </a:solidFill>
              </a:rPr>
              <a:t>visualiz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53AA93-4A89-4C9E-AF21-6B1D837B5C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SCATTER CHAR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F0F0F0"/>
                </a:solidFill>
              </a:rPr>
              <a:t>Scatter charts were produced to visualize the relationships betwe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0F0F0"/>
                </a:solidFill>
              </a:rPr>
              <a:t>Flight Number and Launch Si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0F0F0"/>
                </a:solidFill>
              </a:rPr>
              <a:t>Payload and Launch Si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0F0F0"/>
                </a:solidFill>
              </a:rPr>
              <a:t>Orbit Type and Flight Numb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0F0F0"/>
                </a:solidFill>
              </a:rPr>
              <a:t>Payload and Orbit Typ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97E5C3-0229-4F4A-91A8-A5E22C1130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BAR CHAR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1B1CCC-E4DB-4CD3-880A-2212EC6056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rgbClr val="F0F0F0"/>
                </a:solidFill>
              </a:rPr>
              <a:t>A bar chart was produced to visualize the relationship betwe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Success Rate and Orbit Typ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043D29-7267-45B3-9E41-F9AF22D0E5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LINE CHART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8C3B6BE-FA9F-4878-9BD2-26B3B4EFB71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>
                <a:solidFill>
                  <a:srgbClr val="F0F0F0"/>
                </a:solidFill>
              </a:rPr>
              <a:t>Line charts were produced to visualize the relationships betwe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Success Rate and Year (i.e. the launch success yearly trend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534484-F223-4342-8F4D-1F5A8C9C8198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2"/>
              </a:rPr>
              <a:t>GitHub Link</a:t>
            </a:r>
            <a:endParaRPr lang="en-GB" sz="1000" dirty="0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01221B71-29C8-4301-9C0F-51C64AF002E3}"/>
              </a:ext>
            </a:extLst>
          </p:cNvPr>
          <p:cNvSpPr/>
          <p:nvPr/>
        </p:nvSpPr>
        <p:spPr>
          <a:xfrm>
            <a:off x="1690572" y="415058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  <a:gd name="connsiteX6" fmla="*/ 78081 w 884912"/>
              <a:gd name="connsiteY6" fmla="*/ 0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lnTo>
                  <a:pt x="78081" y="0"/>
                </a:lnTo>
                <a:close/>
              </a:path>
            </a:pathLst>
          </a:custGeom>
          <a:solidFill>
            <a:schemeClr val="bg1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C61016E6-D9EE-41C2-9E63-E043E62FAB42}"/>
              </a:ext>
            </a:extLst>
          </p:cNvPr>
          <p:cNvSpPr/>
          <p:nvPr/>
        </p:nvSpPr>
        <p:spPr>
          <a:xfrm>
            <a:off x="1846733" y="4788241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F1EAFE71-38B4-43D2-BB7D-79B9E3B5B446}"/>
              </a:ext>
            </a:extLst>
          </p:cNvPr>
          <p:cNvSpPr/>
          <p:nvPr/>
        </p:nvSpPr>
        <p:spPr>
          <a:xfrm>
            <a:off x="1898787" y="4619066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D80E07A9-3A8C-48E4-89E6-E73273FBA864}"/>
              </a:ext>
            </a:extLst>
          </p:cNvPr>
          <p:cNvSpPr/>
          <p:nvPr/>
        </p:nvSpPr>
        <p:spPr>
          <a:xfrm>
            <a:off x="2080975" y="4645093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04AC724C-319B-4ED4-A0F4-ADF3E6427C3C}"/>
              </a:ext>
            </a:extLst>
          </p:cNvPr>
          <p:cNvSpPr/>
          <p:nvPr/>
        </p:nvSpPr>
        <p:spPr>
          <a:xfrm>
            <a:off x="2080975" y="4462905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A045D900-C50E-4D92-BD77-85478ED51149}"/>
              </a:ext>
            </a:extLst>
          </p:cNvPr>
          <p:cNvSpPr/>
          <p:nvPr/>
        </p:nvSpPr>
        <p:spPr>
          <a:xfrm>
            <a:off x="2250149" y="4410852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C928A252-D812-4851-B151-D1AF8EB42026}"/>
              </a:ext>
            </a:extLst>
          </p:cNvPr>
          <p:cNvSpPr/>
          <p:nvPr/>
        </p:nvSpPr>
        <p:spPr>
          <a:xfrm>
            <a:off x="2432337" y="4410852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7023A8EC-D5F4-432C-8FC4-44653A8EC4E0}"/>
              </a:ext>
            </a:extLst>
          </p:cNvPr>
          <p:cNvSpPr/>
          <p:nvPr/>
        </p:nvSpPr>
        <p:spPr>
          <a:xfrm>
            <a:off x="2432337" y="4215650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21959A9D-C398-49A3-8D66-868700FB64E7}"/>
              </a:ext>
            </a:extLst>
          </p:cNvPr>
          <p:cNvSpPr/>
          <p:nvPr/>
        </p:nvSpPr>
        <p:spPr>
          <a:xfrm>
            <a:off x="5660925" y="415058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close/>
              </a:path>
            </a:pathLst>
          </a:custGeom>
          <a:solidFill>
            <a:schemeClr val="bg1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83F23A67-6876-4367-B808-1B3279027B90}"/>
              </a:ext>
            </a:extLst>
          </p:cNvPr>
          <p:cNvSpPr/>
          <p:nvPr/>
        </p:nvSpPr>
        <p:spPr>
          <a:xfrm>
            <a:off x="5817086" y="4423865"/>
            <a:ext cx="143147" cy="455469"/>
          </a:xfrm>
          <a:custGeom>
            <a:avLst/>
            <a:gdLst>
              <a:gd name="connsiteX0" fmla="*/ 0 w 143147"/>
              <a:gd name="connsiteY0" fmla="*/ 0 h 455469"/>
              <a:gd name="connsiteX1" fmla="*/ 143148 w 143147"/>
              <a:gd name="connsiteY1" fmla="*/ 0 h 455469"/>
              <a:gd name="connsiteX2" fmla="*/ 143148 w 143147"/>
              <a:gd name="connsiteY2" fmla="*/ 455470 h 455469"/>
              <a:gd name="connsiteX3" fmla="*/ 0 w 143147"/>
              <a:gd name="connsiteY3" fmla="*/ 455470 h 45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455469">
                <a:moveTo>
                  <a:pt x="0" y="0"/>
                </a:moveTo>
                <a:lnTo>
                  <a:pt x="143148" y="0"/>
                </a:lnTo>
                <a:lnTo>
                  <a:pt x="143148" y="455470"/>
                </a:lnTo>
                <a:lnTo>
                  <a:pt x="0" y="455470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E5C2D67E-401B-43D7-A850-0D1E190B7390}"/>
              </a:ext>
            </a:extLst>
          </p:cNvPr>
          <p:cNvSpPr/>
          <p:nvPr/>
        </p:nvSpPr>
        <p:spPr>
          <a:xfrm>
            <a:off x="6012288" y="4150583"/>
            <a:ext cx="143147" cy="728751"/>
          </a:xfrm>
          <a:custGeom>
            <a:avLst/>
            <a:gdLst>
              <a:gd name="connsiteX0" fmla="*/ 0 w 143147"/>
              <a:gd name="connsiteY0" fmla="*/ 0 h 728751"/>
              <a:gd name="connsiteX1" fmla="*/ 143148 w 143147"/>
              <a:gd name="connsiteY1" fmla="*/ 0 h 728751"/>
              <a:gd name="connsiteX2" fmla="*/ 143148 w 143147"/>
              <a:gd name="connsiteY2" fmla="*/ 728751 h 728751"/>
              <a:gd name="connsiteX3" fmla="*/ 0 w 143147"/>
              <a:gd name="connsiteY3" fmla="*/ 728751 h 728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728751">
                <a:moveTo>
                  <a:pt x="0" y="0"/>
                </a:moveTo>
                <a:lnTo>
                  <a:pt x="143148" y="0"/>
                </a:lnTo>
                <a:lnTo>
                  <a:pt x="143148" y="728751"/>
                </a:lnTo>
                <a:lnTo>
                  <a:pt x="0" y="728751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B519FD71-DBEF-4D7A-9BE4-6448FD4AAB9B}"/>
              </a:ext>
            </a:extLst>
          </p:cNvPr>
          <p:cNvSpPr/>
          <p:nvPr/>
        </p:nvSpPr>
        <p:spPr>
          <a:xfrm>
            <a:off x="6207489" y="4423865"/>
            <a:ext cx="143147" cy="455469"/>
          </a:xfrm>
          <a:custGeom>
            <a:avLst/>
            <a:gdLst>
              <a:gd name="connsiteX0" fmla="*/ 0 w 143147"/>
              <a:gd name="connsiteY0" fmla="*/ 0 h 455469"/>
              <a:gd name="connsiteX1" fmla="*/ 143148 w 143147"/>
              <a:gd name="connsiteY1" fmla="*/ 0 h 455469"/>
              <a:gd name="connsiteX2" fmla="*/ 143148 w 143147"/>
              <a:gd name="connsiteY2" fmla="*/ 455470 h 455469"/>
              <a:gd name="connsiteX3" fmla="*/ 0 w 143147"/>
              <a:gd name="connsiteY3" fmla="*/ 455470 h 45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455469">
                <a:moveTo>
                  <a:pt x="0" y="0"/>
                </a:moveTo>
                <a:lnTo>
                  <a:pt x="143148" y="0"/>
                </a:lnTo>
                <a:lnTo>
                  <a:pt x="143148" y="455470"/>
                </a:lnTo>
                <a:lnTo>
                  <a:pt x="0" y="455470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C468C236-AC68-4E68-920F-A3295FB25EEC}"/>
              </a:ext>
            </a:extLst>
          </p:cNvPr>
          <p:cNvSpPr/>
          <p:nvPr/>
        </p:nvSpPr>
        <p:spPr>
          <a:xfrm>
            <a:off x="6402690" y="4645093"/>
            <a:ext cx="143147" cy="234241"/>
          </a:xfrm>
          <a:custGeom>
            <a:avLst/>
            <a:gdLst>
              <a:gd name="connsiteX0" fmla="*/ 0 w 143147"/>
              <a:gd name="connsiteY0" fmla="*/ 0 h 234241"/>
              <a:gd name="connsiteX1" fmla="*/ 143148 w 143147"/>
              <a:gd name="connsiteY1" fmla="*/ 0 h 234241"/>
              <a:gd name="connsiteX2" fmla="*/ 143148 w 143147"/>
              <a:gd name="connsiteY2" fmla="*/ 234242 h 234241"/>
              <a:gd name="connsiteX3" fmla="*/ 0 w 143147"/>
              <a:gd name="connsiteY3" fmla="*/ 234242 h 23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234241">
                <a:moveTo>
                  <a:pt x="0" y="0"/>
                </a:moveTo>
                <a:lnTo>
                  <a:pt x="143148" y="0"/>
                </a:lnTo>
                <a:lnTo>
                  <a:pt x="143148" y="234242"/>
                </a:lnTo>
                <a:lnTo>
                  <a:pt x="0" y="234242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E0A2103-FC87-4BF8-A2D9-85309DAAB6FD}"/>
              </a:ext>
            </a:extLst>
          </p:cNvPr>
          <p:cNvSpPr/>
          <p:nvPr/>
        </p:nvSpPr>
        <p:spPr>
          <a:xfrm>
            <a:off x="9652917" y="415058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close/>
              </a:path>
            </a:pathLst>
          </a:custGeom>
          <a:solidFill>
            <a:schemeClr val="bg1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FDDD865A-6B6B-4CD7-ADB1-489DFDB86D6D}"/>
              </a:ext>
            </a:extLst>
          </p:cNvPr>
          <p:cNvSpPr/>
          <p:nvPr/>
        </p:nvSpPr>
        <p:spPr>
          <a:xfrm>
            <a:off x="9781750" y="4371811"/>
            <a:ext cx="756079" cy="443757"/>
          </a:xfrm>
          <a:custGeom>
            <a:avLst/>
            <a:gdLst>
              <a:gd name="connsiteX0" fmla="*/ 547865 w 756079"/>
              <a:gd name="connsiteY0" fmla="*/ 0 h 443757"/>
              <a:gd name="connsiteX1" fmla="*/ 624644 w 756079"/>
              <a:gd name="connsiteY1" fmla="*/ 76779 h 443757"/>
              <a:gd name="connsiteX2" fmla="*/ 521838 w 756079"/>
              <a:gd name="connsiteY2" fmla="*/ 179585 h 443757"/>
              <a:gd name="connsiteX3" fmla="*/ 443758 w 756079"/>
              <a:gd name="connsiteY3" fmla="*/ 101505 h 443757"/>
              <a:gd name="connsiteX4" fmla="*/ 313623 w 756079"/>
              <a:gd name="connsiteY4" fmla="*/ 231639 h 443757"/>
              <a:gd name="connsiteX5" fmla="*/ 235543 w 756079"/>
              <a:gd name="connsiteY5" fmla="*/ 153558 h 443757"/>
              <a:gd name="connsiteX6" fmla="*/ 0 w 756079"/>
              <a:gd name="connsiteY6" fmla="*/ 389101 h 443757"/>
              <a:gd name="connsiteX7" fmla="*/ 54656 w 756079"/>
              <a:gd name="connsiteY7" fmla="*/ 443758 h 443757"/>
              <a:gd name="connsiteX8" fmla="*/ 235543 w 756079"/>
              <a:gd name="connsiteY8" fmla="*/ 262871 h 443757"/>
              <a:gd name="connsiteX9" fmla="*/ 313623 w 756079"/>
              <a:gd name="connsiteY9" fmla="*/ 340952 h 443757"/>
              <a:gd name="connsiteX10" fmla="*/ 443758 w 756079"/>
              <a:gd name="connsiteY10" fmla="*/ 210817 h 443757"/>
              <a:gd name="connsiteX11" fmla="*/ 521838 w 756079"/>
              <a:gd name="connsiteY11" fmla="*/ 288898 h 443757"/>
              <a:gd name="connsiteX12" fmla="*/ 679300 w 756079"/>
              <a:gd name="connsiteY12" fmla="*/ 131435 h 443757"/>
              <a:gd name="connsiteX13" fmla="*/ 756080 w 756079"/>
              <a:gd name="connsiteY13" fmla="*/ 208215 h 443757"/>
              <a:gd name="connsiteX14" fmla="*/ 756080 w 756079"/>
              <a:gd name="connsiteY14" fmla="*/ 0 h 443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6079" h="443757">
                <a:moveTo>
                  <a:pt x="547865" y="0"/>
                </a:moveTo>
                <a:lnTo>
                  <a:pt x="624644" y="76779"/>
                </a:lnTo>
                <a:lnTo>
                  <a:pt x="521838" y="179585"/>
                </a:lnTo>
                <a:lnTo>
                  <a:pt x="443758" y="101505"/>
                </a:lnTo>
                <a:lnTo>
                  <a:pt x="313623" y="231639"/>
                </a:lnTo>
                <a:lnTo>
                  <a:pt x="235543" y="153558"/>
                </a:lnTo>
                <a:lnTo>
                  <a:pt x="0" y="389101"/>
                </a:lnTo>
                <a:lnTo>
                  <a:pt x="54656" y="443758"/>
                </a:lnTo>
                <a:lnTo>
                  <a:pt x="235543" y="262871"/>
                </a:lnTo>
                <a:lnTo>
                  <a:pt x="313623" y="340952"/>
                </a:lnTo>
                <a:lnTo>
                  <a:pt x="443758" y="210817"/>
                </a:lnTo>
                <a:lnTo>
                  <a:pt x="521838" y="288898"/>
                </a:lnTo>
                <a:lnTo>
                  <a:pt x="679300" y="131435"/>
                </a:lnTo>
                <a:lnTo>
                  <a:pt x="756080" y="208215"/>
                </a:lnTo>
                <a:lnTo>
                  <a:pt x="756080" y="0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9174AEC-7283-400B-8B47-9A56EAADBF61}"/>
              </a:ext>
            </a:extLst>
          </p:cNvPr>
          <p:cNvSpPr txBox="1"/>
          <p:nvPr/>
        </p:nvSpPr>
        <p:spPr>
          <a:xfrm>
            <a:off x="335360" y="5355213"/>
            <a:ext cx="345643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F0F0F0"/>
                </a:solidFill>
              </a:rPr>
              <a:t>Scatter charts are useful to observe relationships, or correlations, between two numeric variables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649B91F-C564-4E0F-8D72-886A3A5C574A}"/>
              </a:ext>
            </a:extLst>
          </p:cNvPr>
          <p:cNvSpPr txBox="1"/>
          <p:nvPr/>
        </p:nvSpPr>
        <p:spPr>
          <a:xfrm>
            <a:off x="4322536" y="5355213"/>
            <a:ext cx="3456433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rgbClr val="F0F0F0"/>
                </a:solidFill>
              </a:rPr>
              <a:t>Bar charts are used to compare a numerical value to a categorical variable. Horizontal or vertical bar charts can be used, depending on the size of the data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2C044DE-8C42-46A8-9E48-183702740F84}"/>
              </a:ext>
            </a:extLst>
          </p:cNvPr>
          <p:cNvSpPr txBox="1"/>
          <p:nvPr/>
        </p:nvSpPr>
        <p:spPr>
          <a:xfrm>
            <a:off x="8396380" y="5355213"/>
            <a:ext cx="345863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rgbClr val="F0F0F0"/>
                </a:solidFill>
              </a:rPr>
              <a:t>Line charts contain numerical values on both axes, and are generally used to show the change of a variable over time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4A88FC0-B6B9-F642-D10C-A996AE263C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813" y="6487452"/>
            <a:ext cx="2651990" cy="19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3178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61AFEF"/>
                </a:solidFill>
              </a:rPr>
              <a:t>Exploratory data analysis (eda) </a:t>
            </a:r>
            <a:r>
              <a:rPr lang="en-US" dirty="0"/>
              <a:t>– </a:t>
            </a:r>
            <a:r>
              <a:rPr lang="en-US" dirty="0">
                <a:solidFill>
                  <a:schemeClr val="accent2"/>
                </a:solidFill>
              </a:rPr>
              <a:t>sq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GB" sz="1600" dirty="0">
                <a:solidFill>
                  <a:srgbClr val="61AFEF"/>
                </a:solidFill>
              </a:rPr>
              <a:t>To gather some information about the dataset, some SQL queries were performed. </a:t>
            </a:r>
          </a:p>
          <a:p>
            <a:endParaRPr lang="en-GB" sz="1600" dirty="0"/>
          </a:p>
          <a:p>
            <a:r>
              <a:rPr lang="en-GB" sz="1200" dirty="0">
                <a:solidFill>
                  <a:srgbClr val="F0F0F0"/>
                </a:solidFill>
              </a:rPr>
              <a:t>The SQL queries performed on the data set were used to: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>
                <a:solidFill>
                  <a:srgbClr val="F0F0F0"/>
                </a:solidFill>
              </a:rPr>
              <a:t>Display the names of the unique launch sites in the space missio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>
                <a:solidFill>
                  <a:srgbClr val="F0F0F0"/>
                </a:solidFill>
              </a:rPr>
              <a:t>Display 5 records where launch sites begin with the string ‘CCA’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>
                <a:solidFill>
                  <a:srgbClr val="F0F0F0"/>
                </a:solidFill>
              </a:rPr>
              <a:t>Display the total payload mass carried by boosters launched by NASA (CRS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>
                <a:solidFill>
                  <a:srgbClr val="F0F0F0"/>
                </a:solidFill>
              </a:rPr>
              <a:t>Display the average payload mass carried by booster version F9 v1.1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>
                <a:solidFill>
                  <a:srgbClr val="F0F0F0"/>
                </a:solidFill>
              </a:rPr>
              <a:t>List the date when the first successful landing outcome on a ground pad was achieved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>
                <a:solidFill>
                  <a:srgbClr val="F0F0F0"/>
                </a:solidFill>
              </a:rPr>
              <a:t>List the names of the boosters which had success on a drone ship and a payload mass between 4000 and 6000 kg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>
                <a:solidFill>
                  <a:srgbClr val="F0F0F0"/>
                </a:solidFill>
              </a:rPr>
              <a:t>List the total number of successful and failed mission outcome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>
                <a:solidFill>
                  <a:srgbClr val="F0F0F0"/>
                </a:solidFill>
              </a:rPr>
              <a:t>List the names of the booster versions which have carried the maximum payload mas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>
                <a:solidFill>
                  <a:srgbClr val="F0F0F0"/>
                </a:solidFill>
              </a:rPr>
              <a:t>List the failed landing outcomes on drone ships, their booster versions, and launch site names for 2015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>
                <a:solidFill>
                  <a:srgbClr val="F0F0F0"/>
                </a:solidFill>
              </a:rPr>
              <a:t>Rank the count of landing outcomes (such as Failure (drone ship) or Success (ground pad)) between the date 2010-06-04 and 2017-03-20, in descending order</a:t>
            </a:r>
          </a:p>
          <a:p>
            <a:endParaRPr lang="en-US" sz="1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9E2E145-A81D-4522-B62F-A820552A8190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2"/>
              </a:rPr>
              <a:t>GitHub Link</a:t>
            </a:r>
            <a:endParaRPr lang="en-GB" sz="1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EDCF7F1-C20C-7A2B-7730-CA56B1B461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0373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61AFEF"/>
                </a:solidFill>
              </a:rPr>
              <a:t>Geospatial analysis </a:t>
            </a:r>
            <a:r>
              <a:rPr lang="en-US" dirty="0"/>
              <a:t>– </a:t>
            </a:r>
            <a:r>
              <a:rPr lang="en-US" dirty="0">
                <a:solidFill>
                  <a:schemeClr val="accent2"/>
                </a:solidFill>
              </a:rPr>
              <a:t>foliu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 sz="1600" dirty="0">
                <a:solidFill>
                  <a:srgbClr val="61AFEF"/>
                </a:solidFill>
              </a:rPr>
              <a:t>The following steps were taken to visualize the launch data on an interactive map:</a:t>
            </a:r>
          </a:p>
          <a:p>
            <a:endParaRPr lang="en-GB" sz="1600" dirty="0"/>
          </a:p>
          <a:p>
            <a:pPr marL="457200" indent="-457200">
              <a:buFont typeface="+mj-lt"/>
              <a:buAutoNum type="arabicPeriod"/>
            </a:pPr>
            <a:r>
              <a:rPr lang="en-GB" sz="1800" dirty="0">
                <a:solidFill>
                  <a:srgbClr val="F0F0F0"/>
                </a:solidFill>
              </a:rPr>
              <a:t>Mark all launch sites on a map</a:t>
            </a:r>
          </a:p>
          <a:p>
            <a:pPr marL="647700" lvl="2" indent="-285750"/>
            <a:r>
              <a:rPr lang="en-GB" sz="1200" dirty="0">
                <a:solidFill>
                  <a:srgbClr val="F0F0F0"/>
                </a:solidFill>
              </a:rPr>
              <a:t>Initialise the map using a Folium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Map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object</a:t>
            </a:r>
          </a:p>
          <a:p>
            <a:pPr marL="647700" lvl="2" indent="-285750"/>
            <a:r>
              <a:rPr lang="en-GB" sz="1200" dirty="0">
                <a:solidFill>
                  <a:srgbClr val="F0F0F0"/>
                </a:solidFill>
              </a:rPr>
              <a:t>Add a</a:t>
            </a:r>
            <a:r>
              <a:rPr lang="en-GB" sz="1200" dirty="0"/>
              <a:t>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Circle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and</a:t>
            </a:r>
            <a:r>
              <a:rPr lang="en-GB" sz="1200" dirty="0"/>
              <a:t>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Marker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for each launch site on the launch map</a:t>
            </a:r>
          </a:p>
          <a:p>
            <a:pPr lvl="2" indent="0">
              <a:buNone/>
            </a:pPr>
            <a:endParaRPr lang="en-GB" sz="1200" dirty="0"/>
          </a:p>
          <a:p>
            <a:pPr marL="457200" indent="-457200">
              <a:buFont typeface="+mj-lt"/>
              <a:buAutoNum type="arabicPeriod"/>
            </a:pPr>
            <a:r>
              <a:rPr lang="en-GB" sz="1800" dirty="0">
                <a:solidFill>
                  <a:srgbClr val="F0F0F0"/>
                </a:solidFill>
              </a:rPr>
              <a:t>Mark the success/failed launches for each site on a map</a:t>
            </a:r>
          </a:p>
          <a:p>
            <a:pPr marL="647700" lvl="2" indent="-285750"/>
            <a:r>
              <a:rPr lang="en-GB" sz="1200" dirty="0">
                <a:solidFill>
                  <a:srgbClr val="F0F0F0"/>
                </a:solidFill>
              </a:rPr>
              <a:t>As many launches have the same coordinates, it makes sense to cluster them together. </a:t>
            </a:r>
          </a:p>
          <a:p>
            <a:pPr marL="647700" lvl="2" indent="-285750"/>
            <a:r>
              <a:rPr lang="en-GB" sz="1200" dirty="0">
                <a:solidFill>
                  <a:srgbClr val="F0F0F0"/>
                </a:solidFill>
              </a:rPr>
              <a:t>Before clustering them, assign a marker colour of successful (class = 1) as green, and failed (class = 0) as red.</a:t>
            </a:r>
          </a:p>
          <a:p>
            <a:pPr marL="647700" lvl="2" indent="-285750"/>
            <a:r>
              <a:rPr lang="en-GB" sz="1200" dirty="0">
                <a:solidFill>
                  <a:srgbClr val="F0F0F0"/>
                </a:solidFill>
              </a:rPr>
              <a:t>To put the launches into clusters, for each launch, add a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Marker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to the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MarkerCluster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object.</a:t>
            </a:r>
          </a:p>
          <a:p>
            <a:pPr marL="647700" lvl="2" indent="-285750"/>
            <a:r>
              <a:rPr lang="en-GB" sz="1200" dirty="0">
                <a:solidFill>
                  <a:srgbClr val="F0F0F0"/>
                </a:solidFill>
              </a:rPr>
              <a:t>Create an icon as a text label, assigning the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icon_color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 </a:t>
            </a:r>
            <a:r>
              <a:rPr lang="en-GB" sz="1200" dirty="0">
                <a:solidFill>
                  <a:srgbClr val="F0F0F0"/>
                </a:solidFill>
              </a:rPr>
              <a:t>as the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marker_colour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determined previously</a:t>
            </a:r>
            <a:r>
              <a:rPr lang="en-GB" sz="1200" dirty="0"/>
              <a:t>.</a:t>
            </a:r>
          </a:p>
          <a:p>
            <a:pPr lvl="2" indent="0">
              <a:buNone/>
            </a:pPr>
            <a:endParaRPr lang="en-GB" sz="1200" dirty="0"/>
          </a:p>
          <a:p>
            <a:pPr marL="457200" indent="-457200">
              <a:buFont typeface="+mj-lt"/>
              <a:buAutoNum type="arabicPeriod"/>
            </a:pPr>
            <a:r>
              <a:rPr lang="en-GB" sz="1800" dirty="0">
                <a:solidFill>
                  <a:srgbClr val="F0F0F0"/>
                </a:solidFill>
              </a:rPr>
              <a:t>Calculate the distances between a launch site to its proximities</a:t>
            </a:r>
          </a:p>
          <a:p>
            <a:pPr marL="647700" lvl="2" indent="-285750"/>
            <a:r>
              <a:rPr lang="en-GB" sz="1200" dirty="0">
                <a:solidFill>
                  <a:srgbClr val="F0F0F0"/>
                </a:solidFill>
              </a:rPr>
              <a:t>To explore the proximities of launch sites, calculations of distances between points can be made using the </a:t>
            </a:r>
            <a:r>
              <a:rPr lang="en-GB" sz="1200" dirty="0">
                <a:solidFill>
                  <a:srgbClr val="D69D68"/>
                </a:solidFill>
                <a:latin typeface="Consolas" panose="020B0609020204030204" pitchFamily="49" charset="0"/>
              </a:rPr>
              <a:t>Lat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and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D69D68"/>
                </a:solidFill>
                <a:latin typeface="Consolas" panose="020B0609020204030204" pitchFamily="49" charset="0"/>
              </a:rPr>
              <a:t>Long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values.</a:t>
            </a:r>
          </a:p>
          <a:p>
            <a:pPr marL="647700" lvl="2" indent="-285750"/>
            <a:r>
              <a:rPr lang="en-GB" sz="1200" dirty="0">
                <a:solidFill>
                  <a:srgbClr val="F0F0F0"/>
                </a:solidFill>
              </a:rPr>
              <a:t>After marking a point using the </a:t>
            </a:r>
            <a:r>
              <a:rPr lang="en-GB" sz="1200" dirty="0">
                <a:solidFill>
                  <a:srgbClr val="D69D68"/>
                </a:solidFill>
                <a:latin typeface="Consolas" panose="020B0609020204030204" pitchFamily="49" charset="0"/>
              </a:rPr>
              <a:t>Lat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and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D69D68"/>
                </a:solidFill>
                <a:latin typeface="Consolas" panose="020B0609020204030204" pitchFamily="49" charset="0"/>
              </a:rPr>
              <a:t>Long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values, create a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Marker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object to show the distance.</a:t>
            </a:r>
          </a:p>
          <a:p>
            <a:pPr marL="647700" lvl="2" indent="-285750"/>
            <a:r>
              <a:rPr lang="en-GB" sz="1200" dirty="0">
                <a:solidFill>
                  <a:srgbClr val="F0F0F0"/>
                </a:solidFill>
              </a:rPr>
              <a:t>To display the distance line between two points, draw a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PolyLine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and add this to the map.</a:t>
            </a:r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4BBE921-76A2-491F-95BB-852950A1B925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2"/>
              </a:rPr>
              <a:t>GitHub Link</a:t>
            </a:r>
            <a:endParaRPr lang="en-GB" sz="1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4633B2-4F9F-10D9-21B6-516724DD3E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9055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61AFEF"/>
                </a:solidFill>
              </a:rPr>
              <a:t>Interactive dashboard </a:t>
            </a:r>
            <a:r>
              <a:rPr lang="en-US" dirty="0"/>
              <a:t>– </a:t>
            </a:r>
            <a:r>
              <a:rPr lang="en-US" dirty="0">
                <a:solidFill>
                  <a:schemeClr val="accent2"/>
                </a:solidFill>
              </a:rPr>
              <a:t>plotly das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1600" dirty="0">
                <a:solidFill>
                  <a:srgbClr val="61AFEF"/>
                </a:solidFill>
              </a:rPr>
              <a:t>The following plots were added to a Plotly Dash dashboard to have an interactive visualisation of the data:</a:t>
            </a:r>
          </a:p>
          <a:p>
            <a:endParaRPr lang="en-GB" dirty="0"/>
          </a:p>
          <a:p>
            <a:pPr marL="457200" indent="-457200">
              <a:buFont typeface="+mj-lt"/>
              <a:buAutoNum type="arabicPeriod"/>
            </a:pPr>
            <a:r>
              <a:rPr lang="en-GB" dirty="0">
                <a:solidFill>
                  <a:srgbClr val="F0F0F0"/>
                </a:solidFill>
              </a:rPr>
              <a:t>Pie chart (</a:t>
            </a:r>
            <a:r>
              <a:rPr lang="en-GB" dirty="0" err="1">
                <a:solidFill>
                  <a:srgbClr val="61AFEF"/>
                </a:solidFill>
                <a:latin typeface="Consolas" panose="020B0609020204030204" pitchFamily="49" charset="0"/>
              </a:rPr>
              <a:t>px.pie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dirty="0">
                <a:solidFill>
                  <a:srgbClr val="F0F0F0"/>
                </a:solidFill>
              </a:rPr>
              <a:t>) showing the total successful launches per site 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This makes it clear to see which sites are most successful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The chart could also be filtered (using a </a:t>
            </a:r>
            <a:r>
              <a:rPr lang="en-GB" sz="2000" dirty="0" err="1">
                <a:solidFill>
                  <a:srgbClr val="61AFEF"/>
                </a:solidFill>
                <a:latin typeface="Consolas" panose="020B0609020204030204" pitchFamily="49" charset="0"/>
              </a:rPr>
              <a:t>dcc.Dropdown</a:t>
            </a:r>
            <a:r>
              <a:rPr lang="en-GB" sz="2000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object) to see the success/failure ratio for an individual site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457200" indent="-457200">
              <a:buFont typeface="+mj-lt"/>
              <a:buAutoNum type="arabicPeriod"/>
            </a:pPr>
            <a:r>
              <a:rPr lang="en-GB" dirty="0">
                <a:solidFill>
                  <a:srgbClr val="F0F0F0"/>
                </a:solidFill>
              </a:rPr>
              <a:t>Scatter graph (</a:t>
            </a:r>
            <a:r>
              <a:rPr lang="en-GB" dirty="0" err="1">
                <a:solidFill>
                  <a:srgbClr val="61AFEF"/>
                </a:solidFill>
                <a:latin typeface="Consolas" panose="020B0609020204030204" pitchFamily="49" charset="0"/>
              </a:rPr>
              <a:t>px.scatter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dirty="0">
                <a:solidFill>
                  <a:srgbClr val="F0F0F0"/>
                </a:solidFill>
              </a:rPr>
              <a:t>)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to show the correlation between outcome (success or not) and payload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mass (kg)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This could be filtered (using a </a:t>
            </a:r>
            <a:r>
              <a:rPr lang="en-GB" sz="2000" dirty="0">
                <a:solidFill>
                  <a:srgbClr val="61AFEF"/>
                </a:solidFill>
                <a:latin typeface="Consolas" panose="020B0609020204030204" pitchFamily="49" charset="0"/>
              </a:rPr>
              <a:t>RangeSlider()</a:t>
            </a:r>
            <a:r>
              <a:rPr lang="en-GB" dirty="0">
                <a:solidFill>
                  <a:schemeClr val="accent2"/>
                </a:solidFill>
              </a:rPr>
              <a:t> </a:t>
            </a:r>
            <a:r>
              <a:rPr lang="en-GB" dirty="0">
                <a:solidFill>
                  <a:srgbClr val="F0F0F0"/>
                </a:solidFill>
              </a:rPr>
              <a:t>object) by ranges of payload masses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It could also be filtered by booster version</a:t>
            </a:r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3B143B8-C817-4278-823F-5EC99DE45B22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2"/>
              </a:rPr>
              <a:t>GitHub Link</a:t>
            </a:r>
            <a:endParaRPr lang="en-GB" sz="1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B419F5C-0244-5908-1162-D346686C23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807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0987DCC-17D6-4908-99E6-7D8B3662B1B4}"/>
              </a:ext>
            </a:extLst>
          </p:cNvPr>
          <p:cNvSpPr txBox="1">
            <a:spLocks/>
          </p:cNvSpPr>
          <p:nvPr/>
        </p:nvSpPr>
        <p:spPr>
          <a:xfrm>
            <a:off x="404813" y="1447801"/>
            <a:ext cx="11406187" cy="69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dirty="0">
                <a:solidFill>
                  <a:srgbClr val="61AFEF"/>
                </a:solidFill>
              </a:rPr>
              <a:t>The following steps were taking to develop, evaluate, and find the best performing classification model</a:t>
            </a:r>
            <a:r>
              <a:rPr lang="en-GB" sz="1600" dirty="0">
                <a:solidFill>
                  <a:schemeClr val="accent2"/>
                </a:solidFill>
              </a:rPr>
              <a:t>: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61AFEF"/>
                </a:solidFill>
              </a:rPr>
              <a:t>Predictive Analysis </a:t>
            </a:r>
            <a:r>
              <a:rPr lang="en-US" dirty="0"/>
              <a:t>- </a:t>
            </a:r>
            <a:r>
              <a:rPr lang="en-US" dirty="0">
                <a:solidFill>
                  <a:schemeClr val="accent2"/>
                </a:solidFill>
              </a:rPr>
              <a:t>Classific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3B143B8-C817-4278-823F-5EC99DE45B22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2"/>
              </a:rPr>
              <a:t>GitHub Link</a:t>
            </a:r>
            <a:endParaRPr lang="en-GB" sz="1000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19E86AD-4F22-44EB-985C-3492E63D0619}"/>
              </a:ext>
            </a:extLst>
          </p:cNvPr>
          <p:cNvSpPr txBox="1">
            <a:spLocks/>
          </p:cNvSpPr>
          <p:nvPr/>
        </p:nvSpPr>
        <p:spPr>
          <a:xfrm>
            <a:off x="404813" y="2085331"/>
            <a:ext cx="3456432" cy="699646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F0F0F0"/>
                </a:solidFill>
              </a:rPr>
              <a:t>Model Developmen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74DE6FD-8B6A-4808-8CE8-E36BFA77926E}"/>
              </a:ext>
            </a:extLst>
          </p:cNvPr>
          <p:cNvSpPr txBox="1">
            <a:spLocks/>
          </p:cNvSpPr>
          <p:nvPr/>
        </p:nvSpPr>
        <p:spPr>
          <a:xfrm>
            <a:off x="404812" y="2833358"/>
            <a:ext cx="3314923" cy="34039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To prepare the dataset for model development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Load dataset		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Perform necessary data transformations (standardise and pre-process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Split data into training and test data sets, using </a:t>
            </a:r>
            <a:r>
              <a:rPr lang="en-GB" sz="1200" b="0" dirty="0">
                <a:solidFill>
                  <a:srgbClr val="61AFEF"/>
                </a:solidFill>
                <a:effectLst/>
                <a:latin typeface="Consolas" panose="020B0609020204030204" pitchFamily="49" charset="0"/>
              </a:rPr>
              <a:t>train_test_split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Decide which type of machine learning algorithms are most appropri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For each chosen algorithm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Create a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GridSearchCV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object and a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dictionary of parameters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Fit the object to the parameters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Use the training data set to train the mod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7A875CC-EF90-42D3-815E-2E756F4098E1}"/>
              </a:ext>
            </a:extLst>
          </p:cNvPr>
          <p:cNvSpPr txBox="1">
            <a:spLocks/>
          </p:cNvSpPr>
          <p:nvPr/>
        </p:nvSpPr>
        <p:spPr>
          <a:xfrm>
            <a:off x="4371046" y="2121171"/>
            <a:ext cx="2552253" cy="627966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F0F0F0"/>
                </a:solidFill>
              </a:rPr>
              <a:t>Model Evaluation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50B2867-39C2-445A-993F-32EE99985034}"/>
              </a:ext>
            </a:extLst>
          </p:cNvPr>
          <p:cNvSpPr txBox="1">
            <a:spLocks/>
          </p:cNvSpPr>
          <p:nvPr/>
        </p:nvSpPr>
        <p:spPr>
          <a:xfrm>
            <a:off x="4371047" y="2796483"/>
            <a:ext cx="3237121" cy="344082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For each chosen algorithm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Using the output GridSearchCV object:</a:t>
            </a:r>
          </a:p>
          <a:p>
            <a:pPr marL="647700" lvl="2" indent="-285750"/>
            <a:r>
              <a:rPr lang="en-GB" sz="1200" dirty="0">
                <a:solidFill>
                  <a:srgbClr val="F0F0F0"/>
                </a:solidFill>
              </a:rPr>
              <a:t>Check the tuned hyperparameters (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best_params</a:t>
            </a:r>
            <a:r>
              <a:rPr lang="en-GB" sz="1200" dirty="0">
                <a:solidFill>
                  <a:srgbClr val="F0F0F0"/>
                </a:solidFill>
              </a:rPr>
              <a:t>_)</a:t>
            </a:r>
          </a:p>
          <a:p>
            <a:pPr marL="647700" lvl="2" indent="-285750"/>
            <a:r>
              <a:rPr lang="en-GB" sz="1200" dirty="0">
                <a:solidFill>
                  <a:srgbClr val="F0F0F0"/>
                </a:solidFill>
              </a:rPr>
              <a:t>Check the accuracy (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score </a:t>
            </a:r>
            <a:r>
              <a:rPr lang="en-GB" sz="1200" dirty="0">
                <a:solidFill>
                  <a:srgbClr val="F0F0F0"/>
                </a:solidFill>
              </a:rPr>
              <a:t>and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best_score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_</a:t>
            </a:r>
            <a:r>
              <a:rPr lang="en-GB" sz="1200" dirty="0">
                <a:solidFill>
                  <a:srgbClr val="F0F0F0"/>
                </a:solidFill>
              </a:rPr>
              <a:t>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Plot and examine the Confusion Matrix</a:t>
            </a:r>
          </a:p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DEF60D0-E34D-4BF2-91AF-AA41945706AD}"/>
              </a:ext>
            </a:extLst>
          </p:cNvPr>
          <p:cNvSpPr txBox="1">
            <a:spLocks/>
          </p:cNvSpPr>
          <p:nvPr/>
        </p:nvSpPr>
        <p:spPr>
          <a:xfrm>
            <a:off x="8330755" y="2074444"/>
            <a:ext cx="3456432" cy="72142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F0F0F0"/>
                </a:solidFill>
              </a:rPr>
              <a:t>Finding the Best Classification Model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16AF34B-A4D3-4B3C-BE8E-3FDD87E7BFDB}"/>
              </a:ext>
            </a:extLst>
          </p:cNvPr>
          <p:cNvSpPr txBox="1">
            <a:spLocks/>
          </p:cNvSpPr>
          <p:nvPr/>
        </p:nvSpPr>
        <p:spPr>
          <a:xfrm>
            <a:off x="8330755" y="2799668"/>
            <a:ext cx="3093837" cy="343764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Review the accuracy scores for all chosen algorith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The model with the highest accuracy score is determined as the best performing model</a:t>
            </a: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65F135F2-FAEB-4ADF-8D3D-120DEB6BD95C}"/>
              </a:ext>
            </a:extLst>
          </p:cNvPr>
          <p:cNvSpPr/>
          <p:nvPr/>
        </p:nvSpPr>
        <p:spPr>
          <a:xfrm>
            <a:off x="3719736" y="2262749"/>
            <a:ext cx="360040" cy="344810"/>
          </a:xfrm>
          <a:prstGeom prst="rightArrow">
            <a:avLst>
              <a:gd name="adj1" fmla="val 50000"/>
              <a:gd name="adj2" fmla="val 5529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6E840AD5-887F-4118-870B-DC12633121B8}"/>
              </a:ext>
            </a:extLst>
          </p:cNvPr>
          <p:cNvSpPr/>
          <p:nvPr/>
        </p:nvSpPr>
        <p:spPr>
          <a:xfrm>
            <a:off x="7608168" y="2262749"/>
            <a:ext cx="360040" cy="344810"/>
          </a:xfrm>
          <a:prstGeom prst="rightArrow">
            <a:avLst>
              <a:gd name="adj1" fmla="val 50000"/>
              <a:gd name="adj2" fmla="val 5529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099DD02-F20F-411A-AA6B-19855569220E}"/>
              </a:ext>
            </a:extLst>
          </p:cNvPr>
          <p:cNvGrpSpPr/>
          <p:nvPr/>
        </p:nvGrpSpPr>
        <p:grpSpPr>
          <a:xfrm>
            <a:off x="6610883" y="2168392"/>
            <a:ext cx="493689" cy="533524"/>
            <a:chOff x="5808998" y="4603333"/>
            <a:chExt cx="627520" cy="678153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7D883C1-464F-4C67-B17F-FD5247B4E829}"/>
                </a:ext>
              </a:extLst>
            </p:cNvPr>
            <p:cNvSpPr/>
            <p:nvPr/>
          </p:nvSpPr>
          <p:spPr>
            <a:xfrm>
              <a:off x="6171760" y="4669521"/>
              <a:ext cx="261873" cy="248803"/>
            </a:xfrm>
            <a:custGeom>
              <a:avLst/>
              <a:gdLst>
                <a:gd name="connsiteX0" fmla="*/ 13393 w 261873"/>
                <a:gd name="connsiteY0" fmla="*/ 37253 h 248803"/>
                <a:gd name="connsiteX1" fmla="*/ 172175 w 261873"/>
                <a:gd name="connsiteY1" fmla="*/ 189653 h 248803"/>
                <a:gd name="connsiteX2" fmla="*/ 142838 w 261873"/>
                <a:gd name="connsiteY2" fmla="*/ 172222 h 248803"/>
                <a:gd name="connsiteX3" fmla="*/ 116341 w 261873"/>
                <a:gd name="connsiteY3" fmla="*/ 177095 h 248803"/>
                <a:gd name="connsiteX4" fmla="*/ 121215 w 261873"/>
                <a:gd name="connsiteY4" fmla="*/ 203592 h 248803"/>
                <a:gd name="connsiteX5" fmla="*/ 123788 w 261873"/>
                <a:gd name="connsiteY5" fmla="*/ 205083 h 248803"/>
                <a:gd name="connsiteX6" fmla="*/ 190463 w 261873"/>
                <a:gd name="connsiteY6" fmla="*/ 244612 h 248803"/>
                <a:gd name="connsiteX7" fmla="*/ 202369 w 261873"/>
                <a:gd name="connsiteY7" fmla="*/ 248803 h 248803"/>
                <a:gd name="connsiteX8" fmla="*/ 202845 w 261873"/>
                <a:gd name="connsiteY8" fmla="*/ 248803 h 248803"/>
                <a:gd name="connsiteX9" fmla="*/ 204369 w 261873"/>
                <a:gd name="connsiteY9" fmla="*/ 248803 h 248803"/>
                <a:gd name="connsiteX10" fmla="*/ 205131 w 261873"/>
                <a:gd name="connsiteY10" fmla="*/ 248803 h 248803"/>
                <a:gd name="connsiteX11" fmla="*/ 205131 w 261873"/>
                <a:gd name="connsiteY11" fmla="*/ 248803 h 248803"/>
                <a:gd name="connsiteX12" fmla="*/ 206655 w 261873"/>
                <a:gd name="connsiteY12" fmla="*/ 248803 h 248803"/>
                <a:gd name="connsiteX13" fmla="*/ 218276 w 261873"/>
                <a:gd name="connsiteY13" fmla="*/ 240040 h 248803"/>
                <a:gd name="connsiteX14" fmla="*/ 259995 w 261873"/>
                <a:gd name="connsiteY14" fmla="*/ 169841 h 248803"/>
                <a:gd name="connsiteX15" fmla="*/ 251057 w 261873"/>
                <a:gd name="connsiteY15" fmla="*/ 144426 h 248803"/>
                <a:gd name="connsiteX16" fmla="*/ 227134 w 261873"/>
                <a:gd name="connsiteY16" fmla="*/ 150791 h 248803"/>
                <a:gd name="connsiteX17" fmla="*/ 209513 w 261873"/>
                <a:gd name="connsiteY17" fmla="*/ 180795 h 248803"/>
                <a:gd name="connsiteX18" fmla="*/ 209513 w 261873"/>
                <a:gd name="connsiteY18" fmla="*/ 180795 h 248803"/>
                <a:gd name="connsiteX19" fmla="*/ 84640 w 261873"/>
                <a:gd name="connsiteY19" fmla="*/ 27537 h 248803"/>
                <a:gd name="connsiteX20" fmla="*/ 24728 w 261873"/>
                <a:gd name="connsiteY20" fmla="*/ 867 h 248803"/>
                <a:gd name="connsiteX21" fmla="*/ 867 w 261873"/>
                <a:gd name="connsiteY21" fmla="*/ 13393 h 248803"/>
                <a:gd name="connsiteX22" fmla="*/ 13393 w 261873"/>
                <a:gd name="connsiteY22" fmla="*/ 37253 h 248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1873" h="248803">
                  <a:moveTo>
                    <a:pt x="13393" y="37253"/>
                  </a:moveTo>
                  <a:cubicBezTo>
                    <a:pt x="87226" y="60452"/>
                    <a:pt x="145967" y="116833"/>
                    <a:pt x="172175" y="189653"/>
                  </a:cubicBezTo>
                  <a:lnTo>
                    <a:pt x="142838" y="172222"/>
                  </a:lnTo>
                  <a:cubicBezTo>
                    <a:pt x="134176" y="166251"/>
                    <a:pt x="122312" y="168433"/>
                    <a:pt x="116341" y="177095"/>
                  </a:cubicBezTo>
                  <a:cubicBezTo>
                    <a:pt x="110370" y="185758"/>
                    <a:pt x="112552" y="197621"/>
                    <a:pt x="121215" y="203592"/>
                  </a:cubicBezTo>
                  <a:cubicBezTo>
                    <a:pt x="122032" y="204156"/>
                    <a:pt x="122892" y="204654"/>
                    <a:pt x="123788" y="205083"/>
                  </a:cubicBezTo>
                  <a:lnTo>
                    <a:pt x="190463" y="244612"/>
                  </a:lnTo>
                  <a:cubicBezTo>
                    <a:pt x="193840" y="247322"/>
                    <a:pt x="198039" y="248799"/>
                    <a:pt x="202369" y="248803"/>
                  </a:cubicBezTo>
                  <a:lnTo>
                    <a:pt x="202845" y="248803"/>
                  </a:lnTo>
                  <a:lnTo>
                    <a:pt x="204369" y="248803"/>
                  </a:lnTo>
                  <a:lnTo>
                    <a:pt x="205131" y="248803"/>
                  </a:lnTo>
                  <a:lnTo>
                    <a:pt x="205131" y="248803"/>
                  </a:lnTo>
                  <a:lnTo>
                    <a:pt x="206655" y="248803"/>
                  </a:lnTo>
                  <a:cubicBezTo>
                    <a:pt x="211536" y="247535"/>
                    <a:pt x="215714" y="244384"/>
                    <a:pt x="218276" y="240040"/>
                  </a:cubicBezTo>
                  <a:lnTo>
                    <a:pt x="259995" y="169841"/>
                  </a:lnTo>
                  <a:cubicBezTo>
                    <a:pt x="264545" y="160355"/>
                    <a:pt x="260544" y="148976"/>
                    <a:pt x="251057" y="144426"/>
                  </a:cubicBezTo>
                  <a:cubicBezTo>
                    <a:pt x="242603" y="140372"/>
                    <a:pt x="232455" y="143071"/>
                    <a:pt x="227134" y="150791"/>
                  </a:cubicBezTo>
                  <a:lnTo>
                    <a:pt x="209513" y="180795"/>
                  </a:lnTo>
                  <a:lnTo>
                    <a:pt x="209513" y="180795"/>
                  </a:lnTo>
                  <a:cubicBezTo>
                    <a:pt x="187493" y="116454"/>
                    <a:pt x="143205" y="62101"/>
                    <a:pt x="84640" y="27537"/>
                  </a:cubicBezTo>
                  <a:cubicBezTo>
                    <a:pt x="65740" y="16414"/>
                    <a:pt x="45642" y="7467"/>
                    <a:pt x="24728" y="867"/>
                  </a:cubicBezTo>
                  <a:cubicBezTo>
                    <a:pt x="14680" y="-2263"/>
                    <a:pt x="3997" y="3345"/>
                    <a:pt x="867" y="13393"/>
                  </a:cubicBezTo>
                  <a:cubicBezTo>
                    <a:pt x="-2263" y="23441"/>
                    <a:pt x="3345" y="34123"/>
                    <a:pt x="13393" y="3725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C6B533D-FB98-45EA-AD25-C054F782A646}"/>
                </a:ext>
              </a:extLst>
            </p:cNvPr>
            <p:cNvSpPr/>
            <p:nvPr/>
          </p:nvSpPr>
          <p:spPr>
            <a:xfrm>
              <a:off x="5808998" y="4701245"/>
              <a:ext cx="138654" cy="307657"/>
            </a:xfrm>
            <a:custGeom>
              <a:avLst/>
              <a:gdLst>
                <a:gd name="connsiteX0" fmla="*/ 7781 w 138654"/>
                <a:gd name="connsiteY0" fmla="*/ 292989 h 307657"/>
                <a:gd name="connsiteX1" fmla="*/ 26355 w 138654"/>
                <a:gd name="connsiteY1" fmla="*/ 307658 h 307657"/>
                <a:gd name="connsiteX2" fmla="*/ 30737 w 138654"/>
                <a:gd name="connsiteY2" fmla="*/ 307086 h 307657"/>
                <a:gd name="connsiteX3" fmla="*/ 44548 w 138654"/>
                <a:gd name="connsiteY3" fmla="*/ 284226 h 307657"/>
                <a:gd name="connsiteX4" fmla="*/ 73123 w 138654"/>
                <a:gd name="connsiteY4" fmla="*/ 101537 h 307657"/>
                <a:gd name="connsiteX5" fmla="*/ 99221 w 138654"/>
                <a:gd name="connsiteY5" fmla="*/ 65151 h 307657"/>
                <a:gd name="connsiteX6" fmla="*/ 99793 w 138654"/>
                <a:gd name="connsiteY6" fmla="*/ 65723 h 307657"/>
                <a:gd name="connsiteX7" fmla="*/ 99793 w 138654"/>
                <a:gd name="connsiteY7" fmla="*/ 100584 h 307657"/>
                <a:gd name="connsiteX8" fmla="*/ 118843 w 138654"/>
                <a:gd name="connsiteY8" fmla="*/ 119634 h 307657"/>
                <a:gd name="connsiteX9" fmla="*/ 137893 w 138654"/>
                <a:gd name="connsiteY9" fmla="*/ 100584 h 307657"/>
                <a:gd name="connsiteX10" fmla="*/ 138655 w 138654"/>
                <a:gd name="connsiteY10" fmla="*/ 19812 h 307657"/>
                <a:gd name="connsiteX11" fmla="*/ 119605 w 138654"/>
                <a:gd name="connsiteY11" fmla="*/ 762 h 307657"/>
                <a:gd name="connsiteX12" fmla="*/ 38738 w 138654"/>
                <a:gd name="connsiteY12" fmla="*/ 0 h 307657"/>
                <a:gd name="connsiteX13" fmla="*/ 19688 w 138654"/>
                <a:gd name="connsiteY13" fmla="*/ 19050 h 307657"/>
                <a:gd name="connsiteX14" fmla="*/ 38738 w 138654"/>
                <a:gd name="connsiteY14" fmla="*/ 38100 h 307657"/>
                <a:gd name="connsiteX15" fmla="*/ 72551 w 138654"/>
                <a:gd name="connsiteY15" fmla="*/ 38100 h 307657"/>
                <a:gd name="connsiteX16" fmla="*/ 39785 w 138654"/>
                <a:gd name="connsiteY16" fmla="*/ 81915 h 307657"/>
                <a:gd name="connsiteX17" fmla="*/ 7781 w 138654"/>
                <a:gd name="connsiteY17" fmla="*/ 292989 h 30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8654" h="307657">
                  <a:moveTo>
                    <a:pt x="7781" y="292989"/>
                  </a:moveTo>
                  <a:cubicBezTo>
                    <a:pt x="9816" y="301598"/>
                    <a:pt x="17509" y="307674"/>
                    <a:pt x="26355" y="307658"/>
                  </a:cubicBezTo>
                  <a:cubicBezTo>
                    <a:pt x="27833" y="307649"/>
                    <a:pt x="29305" y="307457"/>
                    <a:pt x="30737" y="307086"/>
                  </a:cubicBezTo>
                  <a:cubicBezTo>
                    <a:pt x="40806" y="304509"/>
                    <a:pt x="46951" y="294338"/>
                    <a:pt x="44548" y="284226"/>
                  </a:cubicBezTo>
                  <a:cubicBezTo>
                    <a:pt x="30027" y="221928"/>
                    <a:pt x="40273" y="156425"/>
                    <a:pt x="73123" y="101537"/>
                  </a:cubicBezTo>
                  <a:cubicBezTo>
                    <a:pt x="80730" y="88661"/>
                    <a:pt x="89464" y="76484"/>
                    <a:pt x="99221" y="65151"/>
                  </a:cubicBezTo>
                  <a:lnTo>
                    <a:pt x="99793" y="65723"/>
                  </a:lnTo>
                  <a:lnTo>
                    <a:pt x="99793" y="100584"/>
                  </a:lnTo>
                  <a:cubicBezTo>
                    <a:pt x="99793" y="111105"/>
                    <a:pt x="108322" y="119634"/>
                    <a:pt x="118843" y="119634"/>
                  </a:cubicBezTo>
                  <a:cubicBezTo>
                    <a:pt x="129364" y="119634"/>
                    <a:pt x="137893" y="111105"/>
                    <a:pt x="137893" y="100584"/>
                  </a:cubicBezTo>
                  <a:lnTo>
                    <a:pt x="138655" y="19812"/>
                  </a:lnTo>
                  <a:cubicBezTo>
                    <a:pt x="138655" y="9291"/>
                    <a:pt x="130126" y="762"/>
                    <a:pt x="119605" y="762"/>
                  </a:cubicBezTo>
                  <a:lnTo>
                    <a:pt x="38738" y="0"/>
                  </a:lnTo>
                  <a:cubicBezTo>
                    <a:pt x="28216" y="0"/>
                    <a:pt x="19688" y="8529"/>
                    <a:pt x="19688" y="19050"/>
                  </a:cubicBezTo>
                  <a:cubicBezTo>
                    <a:pt x="19688" y="29571"/>
                    <a:pt x="28216" y="38100"/>
                    <a:pt x="38738" y="38100"/>
                  </a:cubicBezTo>
                  <a:lnTo>
                    <a:pt x="72551" y="38100"/>
                  </a:lnTo>
                  <a:cubicBezTo>
                    <a:pt x="60264" y="51632"/>
                    <a:pt x="49293" y="66304"/>
                    <a:pt x="39785" y="81915"/>
                  </a:cubicBezTo>
                  <a:cubicBezTo>
                    <a:pt x="2095" y="145441"/>
                    <a:pt x="-9384" y="221146"/>
                    <a:pt x="7781" y="29298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EFDD900-2DAA-4B04-97DB-7AA2D5D34562}"/>
                </a:ext>
              </a:extLst>
            </p:cNvPr>
            <p:cNvSpPr/>
            <p:nvPr/>
          </p:nvSpPr>
          <p:spPr>
            <a:xfrm>
              <a:off x="5996339" y="5117044"/>
              <a:ext cx="318117" cy="164442"/>
            </a:xfrm>
            <a:custGeom>
              <a:avLst/>
              <a:gdLst>
                <a:gd name="connsiteX0" fmla="*/ 285112 w 318117"/>
                <a:gd name="connsiteY0" fmla="*/ 5783 h 164442"/>
                <a:gd name="connsiteX1" fmla="*/ 68418 w 318117"/>
                <a:gd name="connsiteY1" fmla="*/ 69124 h 164442"/>
                <a:gd name="connsiteX2" fmla="*/ 68418 w 318117"/>
                <a:gd name="connsiteY2" fmla="*/ 69124 h 164442"/>
                <a:gd name="connsiteX3" fmla="*/ 98707 w 318117"/>
                <a:gd name="connsiteY3" fmla="*/ 51979 h 164442"/>
                <a:gd name="connsiteX4" fmla="*/ 105708 w 318117"/>
                <a:gd name="connsiteY4" fmla="*/ 25928 h 164442"/>
                <a:gd name="connsiteX5" fmla="*/ 79657 w 318117"/>
                <a:gd name="connsiteY5" fmla="*/ 18927 h 164442"/>
                <a:gd name="connsiteX6" fmla="*/ 9649 w 318117"/>
                <a:gd name="connsiteY6" fmla="*/ 58646 h 164442"/>
                <a:gd name="connsiteX7" fmla="*/ 2487 w 318117"/>
                <a:gd name="connsiteY7" fmla="*/ 84618 h 164442"/>
                <a:gd name="connsiteX8" fmla="*/ 2505 w 318117"/>
                <a:gd name="connsiteY8" fmla="*/ 84650 h 164442"/>
                <a:gd name="connsiteX9" fmla="*/ 42605 w 318117"/>
                <a:gd name="connsiteY9" fmla="*/ 154849 h 164442"/>
                <a:gd name="connsiteX10" fmla="*/ 68704 w 318117"/>
                <a:gd name="connsiteY10" fmla="*/ 161897 h 164442"/>
                <a:gd name="connsiteX11" fmla="*/ 75752 w 318117"/>
                <a:gd name="connsiteY11" fmla="*/ 135799 h 164442"/>
                <a:gd name="connsiteX12" fmla="*/ 58702 w 318117"/>
                <a:gd name="connsiteY12" fmla="*/ 106081 h 164442"/>
                <a:gd name="connsiteX13" fmla="*/ 311591 w 318117"/>
                <a:gd name="connsiteY13" fmla="*/ 33405 h 164442"/>
                <a:gd name="connsiteX14" fmla="*/ 313422 w 318117"/>
                <a:gd name="connsiteY14" fmla="*/ 6526 h 164442"/>
                <a:gd name="connsiteX15" fmla="*/ 286543 w 318117"/>
                <a:gd name="connsiteY15" fmla="*/ 4696 h 164442"/>
                <a:gd name="connsiteX16" fmla="*/ 285397 w 318117"/>
                <a:gd name="connsiteY16" fmla="*/ 5783 h 164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8117" h="164442">
                  <a:moveTo>
                    <a:pt x="285112" y="5783"/>
                  </a:moveTo>
                  <a:cubicBezTo>
                    <a:pt x="227208" y="60409"/>
                    <a:pt x="146627" y="83964"/>
                    <a:pt x="68418" y="69124"/>
                  </a:cubicBezTo>
                  <a:lnTo>
                    <a:pt x="68418" y="69124"/>
                  </a:lnTo>
                  <a:lnTo>
                    <a:pt x="98707" y="51979"/>
                  </a:lnTo>
                  <a:cubicBezTo>
                    <a:pt x="107834" y="46718"/>
                    <a:pt x="110969" y="35055"/>
                    <a:pt x="105708" y="25928"/>
                  </a:cubicBezTo>
                  <a:cubicBezTo>
                    <a:pt x="100447" y="16801"/>
                    <a:pt x="88784" y="13666"/>
                    <a:pt x="79657" y="18927"/>
                  </a:cubicBezTo>
                  <a:lnTo>
                    <a:pt x="9649" y="58646"/>
                  </a:lnTo>
                  <a:cubicBezTo>
                    <a:pt x="499" y="63840"/>
                    <a:pt x="-2707" y="75468"/>
                    <a:pt x="2487" y="84618"/>
                  </a:cubicBezTo>
                  <a:cubicBezTo>
                    <a:pt x="2492" y="84629"/>
                    <a:pt x="2499" y="84639"/>
                    <a:pt x="2505" y="84650"/>
                  </a:cubicBezTo>
                  <a:lnTo>
                    <a:pt x="42605" y="154849"/>
                  </a:lnTo>
                  <a:cubicBezTo>
                    <a:pt x="47866" y="164002"/>
                    <a:pt x="59550" y="167158"/>
                    <a:pt x="68704" y="161897"/>
                  </a:cubicBezTo>
                  <a:cubicBezTo>
                    <a:pt x="77857" y="156637"/>
                    <a:pt x="81013" y="144952"/>
                    <a:pt x="75752" y="135799"/>
                  </a:cubicBezTo>
                  <a:lnTo>
                    <a:pt x="58702" y="106081"/>
                  </a:lnTo>
                  <a:cubicBezTo>
                    <a:pt x="149801" y="124416"/>
                    <a:pt x="244126" y="97309"/>
                    <a:pt x="311591" y="33405"/>
                  </a:cubicBezTo>
                  <a:cubicBezTo>
                    <a:pt x="319519" y="26488"/>
                    <a:pt x="320339" y="14454"/>
                    <a:pt x="313422" y="6526"/>
                  </a:cubicBezTo>
                  <a:cubicBezTo>
                    <a:pt x="306506" y="-1401"/>
                    <a:pt x="294472" y="-2221"/>
                    <a:pt x="286543" y="4696"/>
                  </a:cubicBezTo>
                  <a:cubicBezTo>
                    <a:pt x="286147" y="5041"/>
                    <a:pt x="285764" y="5404"/>
                    <a:pt x="285397" y="578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2E91955-5656-4290-A2B5-2129F205A14E}"/>
                </a:ext>
              </a:extLst>
            </p:cNvPr>
            <p:cNvSpPr/>
            <p:nvPr/>
          </p:nvSpPr>
          <p:spPr>
            <a:xfrm>
              <a:off x="5822156" y="5032244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8EBE2BC-5CA9-4209-AADE-286EB67F83F2}"/>
                </a:ext>
              </a:extLst>
            </p:cNvPr>
            <p:cNvSpPr/>
            <p:nvPr/>
          </p:nvSpPr>
          <p:spPr>
            <a:xfrm>
              <a:off x="6284118" y="4967093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41A1497-BE6F-478E-9A75-7701F69443A1}"/>
                </a:ext>
              </a:extLst>
            </p:cNvPr>
            <p:cNvSpPr/>
            <p:nvPr/>
          </p:nvSpPr>
          <p:spPr>
            <a:xfrm>
              <a:off x="6000749" y="4603333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3" name="Graphic 31" descr="Trophy with solid fill">
            <a:extLst>
              <a:ext uri="{FF2B5EF4-FFF2-40B4-BE49-F238E27FC236}">
                <a16:creationId xmlns:a16="http://schemas.microsoft.com/office/drawing/2014/main" id="{CCC33B09-9283-4AA2-B86E-82F36479DE2E}"/>
              </a:ext>
            </a:extLst>
          </p:cNvPr>
          <p:cNvSpPr/>
          <p:nvPr/>
        </p:nvSpPr>
        <p:spPr>
          <a:xfrm>
            <a:off x="10920536" y="2161783"/>
            <a:ext cx="504056" cy="546743"/>
          </a:xfrm>
          <a:custGeom>
            <a:avLst/>
            <a:gdLst>
              <a:gd name="connsiteX0" fmla="*/ 268778 w 314097"/>
              <a:gd name="connsiteY0" fmla="*/ 170510 h 354032"/>
              <a:gd name="connsiteX1" fmla="*/ 205958 w 314097"/>
              <a:gd name="connsiteY1" fmla="*/ 200574 h 354032"/>
              <a:gd name="connsiteX2" fmla="*/ 232881 w 314097"/>
              <a:gd name="connsiteY2" fmla="*/ 173202 h 354032"/>
              <a:gd name="connsiteX3" fmla="*/ 243201 w 314097"/>
              <a:gd name="connsiteY3" fmla="*/ 159741 h 354032"/>
              <a:gd name="connsiteX4" fmla="*/ 255316 w 314097"/>
              <a:gd name="connsiteY4" fmla="*/ 117113 h 354032"/>
              <a:gd name="connsiteX5" fmla="*/ 255316 w 314097"/>
              <a:gd name="connsiteY5" fmla="*/ 58781 h 354032"/>
              <a:gd name="connsiteX6" fmla="*/ 286726 w 314097"/>
              <a:gd name="connsiteY6" fmla="*/ 58781 h 354032"/>
              <a:gd name="connsiteX7" fmla="*/ 286726 w 314097"/>
              <a:gd name="connsiteY7" fmla="*/ 126985 h 354032"/>
              <a:gd name="connsiteX8" fmla="*/ 268778 w 314097"/>
              <a:gd name="connsiteY8" fmla="*/ 170510 h 354032"/>
              <a:gd name="connsiteX9" fmla="*/ 45768 w 314097"/>
              <a:gd name="connsiteY9" fmla="*/ 170510 h 354032"/>
              <a:gd name="connsiteX10" fmla="*/ 26923 w 314097"/>
              <a:gd name="connsiteY10" fmla="*/ 126985 h 354032"/>
              <a:gd name="connsiteX11" fmla="*/ 26923 w 314097"/>
              <a:gd name="connsiteY11" fmla="*/ 58332 h 354032"/>
              <a:gd name="connsiteX12" fmla="*/ 58332 w 314097"/>
              <a:gd name="connsiteY12" fmla="*/ 58332 h 354032"/>
              <a:gd name="connsiteX13" fmla="*/ 58332 w 314097"/>
              <a:gd name="connsiteY13" fmla="*/ 116665 h 354032"/>
              <a:gd name="connsiteX14" fmla="*/ 70448 w 314097"/>
              <a:gd name="connsiteY14" fmla="*/ 159292 h 354032"/>
              <a:gd name="connsiteX15" fmla="*/ 80768 w 314097"/>
              <a:gd name="connsiteY15" fmla="*/ 172754 h 354032"/>
              <a:gd name="connsiteX16" fmla="*/ 107691 w 314097"/>
              <a:gd name="connsiteY16" fmla="*/ 200125 h 354032"/>
              <a:gd name="connsiteX17" fmla="*/ 45768 w 314097"/>
              <a:gd name="connsiteY17" fmla="*/ 170510 h 354032"/>
              <a:gd name="connsiteX18" fmla="*/ 314097 w 314097"/>
              <a:gd name="connsiteY18" fmla="*/ 125639 h 354032"/>
              <a:gd name="connsiteX19" fmla="*/ 314097 w 314097"/>
              <a:gd name="connsiteY19" fmla="*/ 31410 h 354032"/>
              <a:gd name="connsiteX20" fmla="*/ 255765 w 314097"/>
              <a:gd name="connsiteY20" fmla="*/ 31410 h 354032"/>
              <a:gd name="connsiteX21" fmla="*/ 255765 w 314097"/>
              <a:gd name="connsiteY21" fmla="*/ 0 h 354032"/>
              <a:gd name="connsiteX22" fmla="*/ 157049 w 314097"/>
              <a:gd name="connsiteY22" fmla="*/ 0 h 354032"/>
              <a:gd name="connsiteX23" fmla="*/ 58332 w 314097"/>
              <a:gd name="connsiteY23" fmla="*/ 0 h 354032"/>
              <a:gd name="connsiteX24" fmla="*/ 58332 w 314097"/>
              <a:gd name="connsiteY24" fmla="*/ 31410 h 354032"/>
              <a:gd name="connsiteX25" fmla="*/ 0 w 314097"/>
              <a:gd name="connsiteY25" fmla="*/ 31410 h 354032"/>
              <a:gd name="connsiteX26" fmla="*/ 0 w 314097"/>
              <a:gd name="connsiteY26" fmla="*/ 125190 h 354032"/>
              <a:gd name="connsiteX27" fmla="*/ 25576 w 314097"/>
              <a:gd name="connsiteY27" fmla="*/ 188010 h 354032"/>
              <a:gd name="connsiteX28" fmla="*/ 132818 w 314097"/>
              <a:gd name="connsiteY28" fmla="*/ 228394 h 354032"/>
              <a:gd name="connsiteX29" fmla="*/ 139100 w 314097"/>
              <a:gd name="connsiteY29" fmla="*/ 250829 h 354032"/>
              <a:gd name="connsiteX30" fmla="*/ 139100 w 314097"/>
              <a:gd name="connsiteY30" fmla="*/ 309161 h 354032"/>
              <a:gd name="connsiteX31" fmla="*/ 116665 w 314097"/>
              <a:gd name="connsiteY31" fmla="*/ 309161 h 354032"/>
              <a:gd name="connsiteX32" fmla="*/ 98716 w 314097"/>
              <a:gd name="connsiteY32" fmla="*/ 327110 h 354032"/>
              <a:gd name="connsiteX33" fmla="*/ 76281 w 314097"/>
              <a:gd name="connsiteY33" fmla="*/ 327110 h 354032"/>
              <a:gd name="connsiteX34" fmla="*/ 58332 w 314097"/>
              <a:gd name="connsiteY34" fmla="*/ 345058 h 354032"/>
              <a:gd name="connsiteX35" fmla="*/ 58332 w 314097"/>
              <a:gd name="connsiteY35" fmla="*/ 354033 h 354032"/>
              <a:gd name="connsiteX36" fmla="*/ 255765 w 314097"/>
              <a:gd name="connsiteY36" fmla="*/ 354033 h 354032"/>
              <a:gd name="connsiteX37" fmla="*/ 255765 w 314097"/>
              <a:gd name="connsiteY37" fmla="*/ 345058 h 354032"/>
              <a:gd name="connsiteX38" fmla="*/ 237817 w 314097"/>
              <a:gd name="connsiteY38" fmla="*/ 327110 h 354032"/>
              <a:gd name="connsiteX39" fmla="*/ 215381 w 314097"/>
              <a:gd name="connsiteY39" fmla="*/ 327110 h 354032"/>
              <a:gd name="connsiteX40" fmla="*/ 197433 w 314097"/>
              <a:gd name="connsiteY40" fmla="*/ 309161 h 354032"/>
              <a:gd name="connsiteX41" fmla="*/ 174997 w 314097"/>
              <a:gd name="connsiteY41" fmla="*/ 309161 h 354032"/>
              <a:gd name="connsiteX42" fmla="*/ 174997 w 314097"/>
              <a:gd name="connsiteY42" fmla="*/ 251278 h 354032"/>
              <a:gd name="connsiteX43" fmla="*/ 181279 w 314097"/>
              <a:gd name="connsiteY43" fmla="*/ 228842 h 354032"/>
              <a:gd name="connsiteX44" fmla="*/ 288521 w 314097"/>
              <a:gd name="connsiteY44" fmla="*/ 188458 h 354032"/>
              <a:gd name="connsiteX45" fmla="*/ 314097 w 314097"/>
              <a:gd name="connsiteY45" fmla="*/ 125639 h 354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314097" h="354032">
                <a:moveTo>
                  <a:pt x="268778" y="170510"/>
                </a:moveTo>
                <a:cubicBezTo>
                  <a:pt x="253073" y="186664"/>
                  <a:pt x="238265" y="196984"/>
                  <a:pt x="205958" y="200574"/>
                </a:cubicBezTo>
                <a:cubicBezTo>
                  <a:pt x="214484" y="192048"/>
                  <a:pt x="224355" y="183523"/>
                  <a:pt x="232881" y="173202"/>
                </a:cubicBezTo>
                <a:cubicBezTo>
                  <a:pt x="236470" y="169164"/>
                  <a:pt x="243201" y="160190"/>
                  <a:pt x="243201" y="159741"/>
                </a:cubicBezTo>
                <a:cubicBezTo>
                  <a:pt x="250829" y="147177"/>
                  <a:pt x="255316" y="132818"/>
                  <a:pt x="255316" y="117113"/>
                </a:cubicBezTo>
                <a:lnTo>
                  <a:pt x="255316" y="58781"/>
                </a:lnTo>
                <a:lnTo>
                  <a:pt x="286726" y="58781"/>
                </a:lnTo>
                <a:lnTo>
                  <a:pt x="286726" y="126985"/>
                </a:lnTo>
                <a:cubicBezTo>
                  <a:pt x="287175" y="127882"/>
                  <a:pt x="288072" y="150318"/>
                  <a:pt x="268778" y="170510"/>
                </a:cubicBezTo>
                <a:close/>
                <a:moveTo>
                  <a:pt x="45768" y="170510"/>
                </a:moveTo>
                <a:cubicBezTo>
                  <a:pt x="26025" y="150318"/>
                  <a:pt x="26923" y="127882"/>
                  <a:pt x="26923" y="126985"/>
                </a:cubicBezTo>
                <a:lnTo>
                  <a:pt x="26923" y="58332"/>
                </a:lnTo>
                <a:lnTo>
                  <a:pt x="58332" y="58332"/>
                </a:lnTo>
                <a:lnTo>
                  <a:pt x="58332" y="116665"/>
                </a:lnTo>
                <a:cubicBezTo>
                  <a:pt x="58332" y="132370"/>
                  <a:pt x="62819" y="146728"/>
                  <a:pt x="70448" y="159292"/>
                </a:cubicBezTo>
                <a:cubicBezTo>
                  <a:pt x="70448" y="159741"/>
                  <a:pt x="77178" y="169164"/>
                  <a:pt x="80768" y="172754"/>
                </a:cubicBezTo>
                <a:cubicBezTo>
                  <a:pt x="89742" y="183074"/>
                  <a:pt x="99165" y="191599"/>
                  <a:pt x="107691" y="200125"/>
                </a:cubicBezTo>
                <a:cubicBezTo>
                  <a:pt x="76281" y="196535"/>
                  <a:pt x="61025" y="186215"/>
                  <a:pt x="45768" y="170510"/>
                </a:cubicBezTo>
                <a:close/>
                <a:moveTo>
                  <a:pt x="314097" y="125639"/>
                </a:moveTo>
                <a:lnTo>
                  <a:pt x="314097" y="31410"/>
                </a:lnTo>
                <a:lnTo>
                  <a:pt x="255765" y="31410"/>
                </a:lnTo>
                <a:lnTo>
                  <a:pt x="255765" y="0"/>
                </a:lnTo>
                <a:lnTo>
                  <a:pt x="157049" y="0"/>
                </a:lnTo>
                <a:lnTo>
                  <a:pt x="58332" y="0"/>
                </a:lnTo>
                <a:lnTo>
                  <a:pt x="58332" y="31410"/>
                </a:lnTo>
                <a:lnTo>
                  <a:pt x="0" y="31410"/>
                </a:lnTo>
                <a:lnTo>
                  <a:pt x="0" y="125190"/>
                </a:lnTo>
                <a:cubicBezTo>
                  <a:pt x="0" y="129677"/>
                  <a:pt x="0" y="160638"/>
                  <a:pt x="25576" y="188010"/>
                </a:cubicBezTo>
                <a:cubicBezTo>
                  <a:pt x="50256" y="214035"/>
                  <a:pt x="80319" y="227496"/>
                  <a:pt x="132818" y="228394"/>
                </a:cubicBezTo>
                <a:cubicBezTo>
                  <a:pt x="136857" y="235124"/>
                  <a:pt x="139100" y="242752"/>
                  <a:pt x="139100" y="250829"/>
                </a:cubicBezTo>
                <a:lnTo>
                  <a:pt x="139100" y="309161"/>
                </a:lnTo>
                <a:lnTo>
                  <a:pt x="116665" y="309161"/>
                </a:lnTo>
                <a:cubicBezTo>
                  <a:pt x="106793" y="309161"/>
                  <a:pt x="98716" y="317238"/>
                  <a:pt x="98716" y="327110"/>
                </a:cubicBezTo>
                <a:lnTo>
                  <a:pt x="76281" y="327110"/>
                </a:lnTo>
                <a:cubicBezTo>
                  <a:pt x="66409" y="327110"/>
                  <a:pt x="58332" y="335187"/>
                  <a:pt x="58332" y="345058"/>
                </a:cubicBezTo>
                <a:lnTo>
                  <a:pt x="58332" y="354033"/>
                </a:lnTo>
                <a:lnTo>
                  <a:pt x="255765" y="354033"/>
                </a:lnTo>
                <a:lnTo>
                  <a:pt x="255765" y="345058"/>
                </a:lnTo>
                <a:cubicBezTo>
                  <a:pt x="255765" y="335187"/>
                  <a:pt x="247688" y="327110"/>
                  <a:pt x="237817" y="327110"/>
                </a:cubicBezTo>
                <a:lnTo>
                  <a:pt x="215381" y="327110"/>
                </a:lnTo>
                <a:cubicBezTo>
                  <a:pt x="215381" y="317238"/>
                  <a:pt x="207304" y="309161"/>
                  <a:pt x="197433" y="309161"/>
                </a:cubicBezTo>
                <a:lnTo>
                  <a:pt x="174997" y="309161"/>
                </a:lnTo>
                <a:lnTo>
                  <a:pt x="174997" y="251278"/>
                </a:lnTo>
                <a:cubicBezTo>
                  <a:pt x="174997" y="243201"/>
                  <a:pt x="177241" y="235573"/>
                  <a:pt x="181279" y="228842"/>
                </a:cubicBezTo>
                <a:cubicBezTo>
                  <a:pt x="233778" y="227945"/>
                  <a:pt x="263842" y="214035"/>
                  <a:pt x="288521" y="188458"/>
                </a:cubicBezTo>
                <a:cubicBezTo>
                  <a:pt x="314097" y="161536"/>
                  <a:pt x="314097" y="130126"/>
                  <a:pt x="314097" y="125639"/>
                </a:cubicBezTo>
                <a:close/>
              </a:path>
            </a:pathLst>
          </a:custGeom>
          <a:solidFill>
            <a:schemeClr val="accent2"/>
          </a:solidFill>
          <a:ln w="4465" cap="flat">
            <a:noFill/>
            <a:prstDash val="solid"/>
            <a:miter/>
          </a:ln>
        </p:spPr>
        <p:txBody>
          <a:bodyPr lIns="0" tIns="0" rIns="0" bIns="21600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1</a:t>
            </a:r>
          </a:p>
        </p:txBody>
      </p:sp>
      <p:grpSp>
        <p:nvGrpSpPr>
          <p:cNvPr id="36" name="Graphic 34" descr="Gears with solid fill">
            <a:extLst>
              <a:ext uri="{FF2B5EF4-FFF2-40B4-BE49-F238E27FC236}">
                <a16:creationId xmlns:a16="http://schemas.microsoft.com/office/drawing/2014/main" id="{072446BE-97CC-4B96-BD1A-C57DDAD7EFF2}"/>
              </a:ext>
            </a:extLst>
          </p:cNvPr>
          <p:cNvGrpSpPr/>
          <p:nvPr/>
        </p:nvGrpSpPr>
        <p:grpSpPr>
          <a:xfrm>
            <a:off x="2947420" y="2213176"/>
            <a:ext cx="414510" cy="532054"/>
            <a:chOff x="6572721" y="4986786"/>
            <a:chExt cx="621030" cy="751522"/>
          </a:xfrm>
          <a:solidFill>
            <a:schemeClr val="accent2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6E1C6504-1A1C-4808-89E7-A1415B71F972}"/>
                </a:ext>
              </a:extLst>
            </p:cNvPr>
            <p:cNvSpPr/>
            <p:nvPr/>
          </p:nvSpPr>
          <p:spPr>
            <a:xfrm>
              <a:off x="6787987" y="4986786"/>
              <a:ext cx="405764" cy="404812"/>
            </a:xfrm>
            <a:custGeom>
              <a:avLst/>
              <a:gdLst>
                <a:gd name="connsiteX0" fmla="*/ 202883 w 405764"/>
                <a:gd name="connsiteY0" fmla="*/ 274320 h 404812"/>
                <a:gd name="connsiteX1" fmla="*/ 131445 w 405764"/>
                <a:gd name="connsiteY1" fmla="*/ 202883 h 404812"/>
                <a:gd name="connsiteX2" fmla="*/ 202883 w 405764"/>
                <a:gd name="connsiteY2" fmla="*/ 131445 h 404812"/>
                <a:gd name="connsiteX3" fmla="*/ 274320 w 405764"/>
                <a:gd name="connsiteY3" fmla="*/ 202883 h 404812"/>
                <a:gd name="connsiteX4" fmla="*/ 202883 w 405764"/>
                <a:gd name="connsiteY4" fmla="*/ 274320 h 404812"/>
                <a:gd name="connsiteX5" fmla="*/ 363855 w 405764"/>
                <a:gd name="connsiteY5" fmla="*/ 158115 h 404812"/>
                <a:gd name="connsiteX6" fmla="*/ 348615 w 405764"/>
                <a:gd name="connsiteY6" fmla="*/ 120968 h 404812"/>
                <a:gd name="connsiteX7" fmla="*/ 363855 w 405764"/>
                <a:gd name="connsiteY7" fmla="*/ 76200 h 404812"/>
                <a:gd name="connsiteX8" fmla="*/ 329565 w 405764"/>
                <a:gd name="connsiteY8" fmla="*/ 41910 h 404812"/>
                <a:gd name="connsiteX9" fmla="*/ 284798 w 405764"/>
                <a:gd name="connsiteY9" fmla="*/ 57150 h 404812"/>
                <a:gd name="connsiteX10" fmla="*/ 247650 w 405764"/>
                <a:gd name="connsiteY10" fmla="*/ 41910 h 404812"/>
                <a:gd name="connsiteX11" fmla="*/ 226695 w 405764"/>
                <a:gd name="connsiteY11" fmla="*/ 0 h 404812"/>
                <a:gd name="connsiteX12" fmla="*/ 179070 w 405764"/>
                <a:gd name="connsiteY12" fmla="*/ 0 h 404812"/>
                <a:gd name="connsiteX13" fmla="*/ 158115 w 405764"/>
                <a:gd name="connsiteY13" fmla="*/ 41910 h 404812"/>
                <a:gd name="connsiteX14" fmla="*/ 120968 w 405764"/>
                <a:gd name="connsiteY14" fmla="*/ 57150 h 404812"/>
                <a:gd name="connsiteX15" fmla="*/ 76200 w 405764"/>
                <a:gd name="connsiteY15" fmla="*/ 41910 h 404812"/>
                <a:gd name="connsiteX16" fmla="*/ 41910 w 405764"/>
                <a:gd name="connsiteY16" fmla="*/ 76200 h 404812"/>
                <a:gd name="connsiteX17" fmla="*/ 57150 w 405764"/>
                <a:gd name="connsiteY17" fmla="*/ 120968 h 404812"/>
                <a:gd name="connsiteX18" fmla="*/ 41910 w 405764"/>
                <a:gd name="connsiteY18" fmla="*/ 158115 h 404812"/>
                <a:gd name="connsiteX19" fmla="*/ 0 w 405764"/>
                <a:gd name="connsiteY19" fmla="*/ 179070 h 404812"/>
                <a:gd name="connsiteX20" fmla="*/ 0 w 405764"/>
                <a:gd name="connsiteY20" fmla="*/ 226695 h 404812"/>
                <a:gd name="connsiteX21" fmla="*/ 41910 w 405764"/>
                <a:gd name="connsiteY21" fmla="*/ 247650 h 404812"/>
                <a:gd name="connsiteX22" fmla="*/ 57150 w 405764"/>
                <a:gd name="connsiteY22" fmla="*/ 284798 h 404812"/>
                <a:gd name="connsiteX23" fmla="*/ 41910 w 405764"/>
                <a:gd name="connsiteY23" fmla="*/ 329565 h 404812"/>
                <a:gd name="connsiteX24" fmla="*/ 75248 w 405764"/>
                <a:gd name="connsiteY24" fmla="*/ 362903 h 404812"/>
                <a:gd name="connsiteX25" fmla="*/ 120015 w 405764"/>
                <a:gd name="connsiteY25" fmla="*/ 347663 h 404812"/>
                <a:gd name="connsiteX26" fmla="*/ 157163 w 405764"/>
                <a:gd name="connsiteY26" fmla="*/ 362903 h 404812"/>
                <a:gd name="connsiteX27" fmla="*/ 178118 w 405764"/>
                <a:gd name="connsiteY27" fmla="*/ 404813 h 404812"/>
                <a:gd name="connsiteX28" fmla="*/ 225743 w 405764"/>
                <a:gd name="connsiteY28" fmla="*/ 404813 h 404812"/>
                <a:gd name="connsiteX29" fmla="*/ 246698 w 405764"/>
                <a:gd name="connsiteY29" fmla="*/ 362903 h 404812"/>
                <a:gd name="connsiteX30" fmla="*/ 283845 w 405764"/>
                <a:gd name="connsiteY30" fmla="*/ 347663 h 404812"/>
                <a:gd name="connsiteX31" fmla="*/ 328613 w 405764"/>
                <a:gd name="connsiteY31" fmla="*/ 362903 h 404812"/>
                <a:gd name="connsiteX32" fmla="*/ 362903 w 405764"/>
                <a:gd name="connsiteY32" fmla="*/ 329565 h 404812"/>
                <a:gd name="connsiteX33" fmla="*/ 347663 w 405764"/>
                <a:gd name="connsiteY33" fmla="*/ 284798 h 404812"/>
                <a:gd name="connsiteX34" fmla="*/ 363855 w 405764"/>
                <a:gd name="connsiteY34" fmla="*/ 247650 h 404812"/>
                <a:gd name="connsiteX35" fmla="*/ 405765 w 405764"/>
                <a:gd name="connsiteY35" fmla="*/ 226695 h 404812"/>
                <a:gd name="connsiteX36" fmla="*/ 405765 w 405764"/>
                <a:gd name="connsiteY36" fmla="*/ 179070 h 404812"/>
                <a:gd name="connsiteX37" fmla="*/ 363855 w 405764"/>
                <a:gd name="connsiteY37" fmla="*/ 158115 h 4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05764" h="404812">
                  <a:moveTo>
                    <a:pt x="202883" y="274320"/>
                  </a:moveTo>
                  <a:cubicBezTo>
                    <a:pt x="162877" y="274320"/>
                    <a:pt x="131445" y="241935"/>
                    <a:pt x="131445" y="202883"/>
                  </a:cubicBezTo>
                  <a:cubicBezTo>
                    <a:pt x="131445" y="163830"/>
                    <a:pt x="163830" y="131445"/>
                    <a:pt x="202883" y="131445"/>
                  </a:cubicBezTo>
                  <a:cubicBezTo>
                    <a:pt x="242888" y="131445"/>
                    <a:pt x="274320" y="163830"/>
                    <a:pt x="274320" y="202883"/>
                  </a:cubicBezTo>
                  <a:cubicBezTo>
                    <a:pt x="274320" y="241935"/>
                    <a:pt x="241935" y="274320"/>
                    <a:pt x="202883" y="274320"/>
                  </a:cubicBezTo>
                  <a:close/>
                  <a:moveTo>
                    <a:pt x="363855" y="158115"/>
                  </a:moveTo>
                  <a:cubicBezTo>
                    <a:pt x="360045" y="144780"/>
                    <a:pt x="355283" y="132398"/>
                    <a:pt x="348615" y="120968"/>
                  </a:cubicBezTo>
                  <a:lnTo>
                    <a:pt x="363855" y="76200"/>
                  </a:lnTo>
                  <a:lnTo>
                    <a:pt x="329565" y="41910"/>
                  </a:lnTo>
                  <a:lnTo>
                    <a:pt x="284798" y="57150"/>
                  </a:lnTo>
                  <a:cubicBezTo>
                    <a:pt x="273367" y="50483"/>
                    <a:pt x="260985" y="45720"/>
                    <a:pt x="247650" y="41910"/>
                  </a:cubicBezTo>
                  <a:lnTo>
                    <a:pt x="226695" y="0"/>
                  </a:lnTo>
                  <a:lnTo>
                    <a:pt x="179070" y="0"/>
                  </a:lnTo>
                  <a:lnTo>
                    <a:pt x="158115" y="41910"/>
                  </a:lnTo>
                  <a:cubicBezTo>
                    <a:pt x="144780" y="45720"/>
                    <a:pt x="132398" y="50483"/>
                    <a:pt x="120968" y="57150"/>
                  </a:cubicBezTo>
                  <a:lnTo>
                    <a:pt x="76200" y="41910"/>
                  </a:lnTo>
                  <a:lnTo>
                    <a:pt x="41910" y="76200"/>
                  </a:lnTo>
                  <a:lnTo>
                    <a:pt x="57150" y="120968"/>
                  </a:lnTo>
                  <a:cubicBezTo>
                    <a:pt x="50482" y="132398"/>
                    <a:pt x="45720" y="144780"/>
                    <a:pt x="41910" y="158115"/>
                  </a:cubicBezTo>
                  <a:lnTo>
                    <a:pt x="0" y="179070"/>
                  </a:lnTo>
                  <a:lnTo>
                    <a:pt x="0" y="226695"/>
                  </a:lnTo>
                  <a:lnTo>
                    <a:pt x="41910" y="247650"/>
                  </a:lnTo>
                  <a:cubicBezTo>
                    <a:pt x="45720" y="260985"/>
                    <a:pt x="50482" y="273368"/>
                    <a:pt x="57150" y="284798"/>
                  </a:cubicBezTo>
                  <a:lnTo>
                    <a:pt x="41910" y="329565"/>
                  </a:lnTo>
                  <a:lnTo>
                    <a:pt x="75248" y="362903"/>
                  </a:lnTo>
                  <a:lnTo>
                    <a:pt x="120015" y="347663"/>
                  </a:lnTo>
                  <a:cubicBezTo>
                    <a:pt x="131445" y="354330"/>
                    <a:pt x="143827" y="359093"/>
                    <a:pt x="157163" y="362903"/>
                  </a:cubicBezTo>
                  <a:lnTo>
                    <a:pt x="178118" y="404813"/>
                  </a:lnTo>
                  <a:lnTo>
                    <a:pt x="225743" y="404813"/>
                  </a:lnTo>
                  <a:lnTo>
                    <a:pt x="246698" y="362903"/>
                  </a:lnTo>
                  <a:cubicBezTo>
                    <a:pt x="260033" y="359093"/>
                    <a:pt x="272415" y="354330"/>
                    <a:pt x="283845" y="347663"/>
                  </a:cubicBezTo>
                  <a:lnTo>
                    <a:pt x="328613" y="362903"/>
                  </a:lnTo>
                  <a:lnTo>
                    <a:pt x="362903" y="329565"/>
                  </a:lnTo>
                  <a:lnTo>
                    <a:pt x="347663" y="284798"/>
                  </a:lnTo>
                  <a:cubicBezTo>
                    <a:pt x="354330" y="273368"/>
                    <a:pt x="360045" y="260033"/>
                    <a:pt x="363855" y="247650"/>
                  </a:cubicBezTo>
                  <a:lnTo>
                    <a:pt x="405765" y="226695"/>
                  </a:lnTo>
                  <a:lnTo>
                    <a:pt x="405765" y="179070"/>
                  </a:lnTo>
                  <a:lnTo>
                    <a:pt x="363855" y="158115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8737F48-4961-4CEE-9BF3-B2C24547F4AD}"/>
                </a:ext>
              </a:extLst>
            </p:cNvPr>
            <p:cNvSpPr/>
            <p:nvPr/>
          </p:nvSpPr>
          <p:spPr>
            <a:xfrm>
              <a:off x="6572721" y="5333496"/>
              <a:ext cx="405765" cy="404812"/>
            </a:xfrm>
            <a:custGeom>
              <a:avLst/>
              <a:gdLst>
                <a:gd name="connsiteX0" fmla="*/ 202883 w 405765"/>
                <a:gd name="connsiteY0" fmla="*/ 274320 h 404812"/>
                <a:gd name="connsiteX1" fmla="*/ 131445 w 405765"/>
                <a:gd name="connsiteY1" fmla="*/ 202882 h 404812"/>
                <a:gd name="connsiteX2" fmla="*/ 202883 w 405765"/>
                <a:gd name="connsiteY2" fmla="*/ 131445 h 404812"/>
                <a:gd name="connsiteX3" fmla="*/ 274320 w 405765"/>
                <a:gd name="connsiteY3" fmla="*/ 202882 h 404812"/>
                <a:gd name="connsiteX4" fmla="*/ 202883 w 405765"/>
                <a:gd name="connsiteY4" fmla="*/ 274320 h 404812"/>
                <a:gd name="connsiteX5" fmla="*/ 202883 w 405765"/>
                <a:gd name="connsiteY5" fmla="*/ 274320 h 404812"/>
                <a:gd name="connsiteX6" fmla="*/ 348615 w 405765"/>
                <a:gd name="connsiteY6" fmla="*/ 120967 h 404812"/>
                <a:gd name="connsiteX7" fmla="*/ 363855 w 405765"/>
                <a:gd name="connsiteY7" fmla="*/ 76200 h 404812"/>
                <a:gd name="connsiteX8" fmla="*/ 329565 w 405765"/>
                <a:gd name="connsiteY8" fmla="*/ 41910 h 404812"/>
                <a:gd name="connsiteX9" fmla="*/ 284798 w 405765"/>
                <a:gd name="connsiteY9" fmla="*/ 57150 h 404812"/>
                <a:gd name="connsiteX10" fmla="*/ 247650 w 405765"/>
                <a:gd name="connsiteY10" fmla="*/ 41910 h 404812"/>
                <a:gd name="connsiteX11" fmla="*/ 226695 w 405765"/>
                <a:gd name="connsiteY11" fmla="*/ 0 h 404812"/>
                <a:gd name="connsiteX12" fmla="*/ 179070 w 405765"/>
                <a:gd name="connsiteY12" fmla="*/ 0 h 404812"/>
                <a:gd name="connsiteX13" fmla="*/ 158115 w 405765"/>
                <a:gd name="connsiteY13" fmla="*/ 41910 h 404812"/>
                <a:gd name="connsiteX14" fmla="*/ 120968 w 405765"/>
                <a:gd name="connsiteY14" fmla="*/ 57150 h 404812"/>
                <a:gd name="connsiteX15" fmla="*/ 76200 w 405765"/>
                <a:gd name="connsiteY15" fmla="*/ 41910 h 404812"/>
                <a:gd name="connsiteX16" fmla="*/ 42863 w 405765"/>
                <a:gd name="connsiteY16" fmla="*/ 75247 h 404812"/>
                <a:gd name="connsiteX17" fmla="*/ 57150 w 405765"/>
                <a:gd name="connsiteY17" fmla="*/ 120015 h 404812"/>
                <a:gd name="connsiteX18" fmla="*/ 41910 w 405765"/>
                <a:gd name="connsiteY18" fmla="*/ 157163 h 404812"/>
                <a:gd name="connsiteX19" fmla="*/ 0 w 405765"/>
                <a:gd name="connsiteY19" fmla="*/ 178117 h 404812"/>
                <a:gd name="connsiteX20" fmla="*/ 0 w 405765"/>
                <a:gd name="connsiteY20" fmla="*/ 225742 h 404812"/>
                <a:gd name="connsiteX21" fmla="*/ 41910 w 405765"/>
                <a:gd name="connsiteY21" fmla="*/ 246698 h 404812"/>
                <a:gd name="connsiteX22" fmla="*/ 57150 w 405765"/>
                <a:gd name="connsiteY22" fmla="*/ 283845 h 404812"/>
                <a:gd name="connsiteX23" fmla="*/ 42863 w 405765"/>
                <a:gd name="connsiteY23" fmla="*/ 328613 h 404812"/>
                <a:gd name="connsiteX24" fmla="*/ 76200 w 405765"/>
                <a:gd name="connsiteY24" fmla="*/ 361950 h 404812"/>
                <a:gd name="connsiteX25" fmla="*/ 120968 w 405765"/>
                <a:gd name="connsiteY25" fmla="*/ 347663 h 404812"/>
                <a:gd name="connsiteX26" fmla="*/ 158115 w 405765"/>
                <a:gd name="connsiteY26" fmla="*/ 362903 h 404812"/>
                <a:gd name="connsiteX27" fmla="*/ 179070 w 405765"/>
                <a:gd name="connsiteY27" fmla="*/ 404813 h 404812"/>
                <a:gd name="connsiteX28" fmla="*/ 226695 w 405765"/>
                <a:gd name="connsiteY28" fmla="*/ 404813 h 404812"/>
                <a:gd name="connsiteX29" fmla="*/ 247650 w 405765"/>
                <a:gd name="connsiteY29" fmla="*/ 362903 h 404812"/>
                <a:gd name="connsiteX30" fmla="*/ 284798 w 405765"/>
                <a:gd name="connsiteY30" fmla="*/ 347663 h 404812"/>
                <a:gd name="connsiteX31" fmla="*/ 329565 w 405765"/>
                <a:gd name="connsiteY31" fmla="*/ 362903 h 404812"/>
                <a:gd name="connsiteX32" fmla="*/ 362903 w 405765"/>
                <a:gd name="connsiteY32" fmla="*/ 328613 h 404812"/>
                <a:gd name="connsiteX33" fmla="*/ 348615 w 405765"/>
                <a:gd name="connsiteY33" fmla="*/ 284798 h 404812"/>
                <a:gd name="connsiteX34" fmla="*/ 363855 w 405765"/>
                <a:gd name="connsiteY34" fmla="*/ 247650 h 404812"/>
                <a:gd name="connsiteX35" fmla="*/ 405765 w 405765"/>
                <a:gd name="connsiteY35" fmla="*/ 226695 h 404812"/>
                <a:gd name="connsiteX36" fmla="*/ 405765 w 405765"/>
                <a:gd name="connsiteY36" fmla="*/ 179070 h 404812"/>
                <a:gd name="connsiteX37" fmla="*/ 363855 w 405765"/>
                <a:gd name="connsiteY37" fmla="*/ 158115 h 404812"/>
                <a:gd name="connsiteX38" fmla="*/ 348615 w 405765"/>
                <a:gd name="connsiteY38" fmla="*/ 120967 h 4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05765" h="404812">
                  <a:moveTo>
                    <a:pt x="202883" y="274320"/>
                  </a:moveTo>
                  <a:cubicBezTo>
                    <a:pt x="162878" y="274320"/>
                    <a:pt x="131445" y="241935"/>
                    <a:pt x="131445" y="202882"/>
                  </a:cubicBezTo>
                  <a:cubicBezTo>
                    <a:pt x="131445" y="162877"/>
                    <a:pt x="163830" y="131445"/>
                    <a:pt x="202883" y="131445"/>
                  </a:cubicBezTo>
                  <a:cubicBezTo>
                    <a:pt x="242888" y="131445"/>
                    <a:pt x="274320" y="163830"/>
                    <a:pt x="274320" y="202882"/>
                  </a:cubicBezTo>
                  <a:cubicBezTo>
                    <a:pt x="274320" y="241935"/>
                    <a:pt x="242888" y="274320"/>
                    <a:pt x="202883" y="274320"/>
                  </a:cubicBezTo>
                  <a:lnTo>
                    <a:pt x="202883" y="274320"/>
                  </a:lnTo>
                  <a:close/>
                  <a:moveTo>
                    <a:pt x="348615" y="120967"/>
                  </a:moveTo>
                  <a:lnTo>
                    <a:pt x="363855" y="76200"/>
                  </a:lnTo>
                  <a:lnTo>
                    <a:pt x="329565" y="41910"/>
                  </a:lnTo>
                  <a:lnTo>
                    <a:pt x="284798" y="57150"/>
                  </a:lnTo>
                  <a:cubicBezTo>
                    <a:pt x="273368" y="50482"/>
                    <a:pt x="260033" y="45720"/>
                    <a:pt x="247650" y="41910"/>
                  </a:cubicBezTo>
                  <a:lnTo>
                    <a:pt x="226695" y="0"/>
                  </a:lnTo>
                  <a:lnTo>
                    <a:pt x="179070" y="0"/>
                  </a:lnTo>
                  <a:lnTo>
                    <a:pt x="158115" y="41910"/>
                  </a:lnTo>
                  <a:cubicBezTo>
                    <a:pt x="144780" y="45720"/>
                    <a:pt x="132398" y="50482"/>
                    <a:pt x="120968" y="57150"/>
                  </a:cubicBezTo>
                  <a:lnTo>
                    <a:pt x="76200" y="41910"/>
                  </a:lnTo>
                  <a:lnTo>
                    <a:pt x="42863" y="75247"/>
                  </a:lnTo>
                  <a:lnTo>
                    <a:pt x="57150" y="120015"/>
                  </a:lnTo>
                  <a:cubicBezTo>
                    <a:pt x="50483" y="131445"/>
                    <a:pt x="45720" y="144780"/>
                    <a:pt x="41910" y="157163"/>
                  </a:cubicBezTo>
                  <a:lnTo>
                    <a:pt x="0" y="178117"/>
                  </a:lnTo>
                  <a:lnTo>
                    <a:pt x="0" y="225742"/>
                  </a:lnTo>
                  <a:lnTo>
                    <a:pt x="41910" y="246698"/>
                  </a:lnTo>
                  <a:cubicBezTo>
                    <a:pt x="45720" y="260032"/>
                    <a:pt x="50483" y="272415"/>
                    <a:pt x="57150" y="283845"/>
                  </a:cubicBezTo>
                  <a:lnTo>
                    <a:pt x="42863" y="328613"/>
                  </a:lnTo>
                  <a:lnTo>
                    <a:pt x="76200" y="361950"/>
                  </a:lnTo>
                  <a:lnTo>
                    <a:pt x="120968" y="347663"/>
                  </a:lnTo>
                  <a:cubicBezTo>
                    <a:pt x="132398" y="354330"/>
                    <a:pt x="144780" y="359092"/>
                    <a:pt x="158115" y="362903"/>
                  </a:cubicBezTo>
                  <a:lnTo>
                    <a:pt x="179070" y="404813"/>
                  </a:lnTo>
                  <a:lnTo>
                    <a:pt x="226695" y="404813"/>
                  </a:lnTo>
                  <a:lnTo>
                    <a:pt x="247650" y="362903"/>
                  </a:lnTo>
                  <a:cubicBezTo>
                    <a:pt x="260985" y="359092"/>
                    <a:pt x="273368" y="354330"/>
                    <a:pt x="284798" y="347663"/>
                  </a:cubicBezTo>
                  <a:lnTo>
                    <a:pt x="329565" y="362903"/>
                  </a:lnTo>
                  <a:lnTo>
                    <a:pt x="362903" y="328613"/>
                  </a:lnTo>
                  <a:lnTo>
                    <a:pt x="348615" y="284798"/>
                  </a:lnTo>
                  <a:cubicBezTo>
                    <a:pt x="355283" y="273367"/>
                    <a:pt x="360045" y="260985"/>
                    <a:pt x="363855" y="247650"/>
                  </a:cubicBezTo>
                  <a:lnTo>
                    <a:pt x="405765" y="226695"/>
                  </a:lnTo>
                  <a:lnTo>
                    <a:pt x="405765" y="179070"/>
                  </a:lnTo>
                  <a:lnTo>
                    <a:pt x="363855" y="158115"/>
                  </a:lnTo>
                  <a:cubicBezTo>
                    <a:pt x="360045" y="144780"/>
                    <a:pt x="355283" y="132397"/>
                    <a:pt x="348615" y="12096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FDA5BAAC-221C-2BE1-115E-7F25C8D491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7145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297D654A-DCC7-4639-9E61-193D548EC7B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2785" b="2785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4040" y="934561"/>
            <a:ext cx="4104382" cy="794064"/>
          </a:xfrm>
        </p:spPr>
        <p:txBody>
          <a:bodyPr/>
          <a:lstStyle/>
          <a:p>
            <a:pPr algn="ctr"/>
            <a:r>
              <a:rPr lang="en-GB" sz="5400" dirty="0">
                <a:solidFill>
                  <a:srgbClr val="F0F0F0"/>
                </a:solidFill>
              </a:rPr>
              <a:t>RESULTS</a:t>
            </a:r>
            <a:r>
              <a:rPr lang="en-GB" sz="4400" dirty="0"/>
              <a:t> </a:t>
            </a:r>
            <a:endParaRPr lang="en-US" sz="4400" dirty="0">
              <a:solidFill>
                <a:schemeClr val="accent2"/>
              </a:solidFill>
            </a:endParaRPr>
          </a:p>
        </p:txBody>
      </p:sp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B30411E9-F855-4B0F-9D2C-22D62BEBFAA5}"/>
              </a:ext>
            </a:extLst>
          </p:cNvPr>
          <p:cNvSpPr/>
          <p:nvPr/>
        </p:nvSpPr>
        <p:spPr>
          <a:xfrm>
            <a:off x="226683" y="2476619"/>
            <a:ext cx="4899099" cy="952381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Exploratory Data Analysis</a:t>
            </a: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6F7280D8-18F2-49ED-AED6-846EA92971CF}"/>
              </a:ext>
            </a:extLst>
          </p:cNvPr>
          <p:cNvSpPr/>
          <p:nvPr/>
        </p:nvSpPr>
        <p:spPr>
          <a:xfrm>
            <a:off x="226683" y="3819495"/>
            <a:ext cx="4899099" cy="952381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Interactive Analytics</a:t>
            </a:r>
          </a:p>
        </p:txBody>
      </p:sp>
      <p:sp>
        <p:nvSpPr>
          <p:cNvPr id="9" name="Rectangle: Diagonal Corners Snipped 8">
            <a:extLst>
              <a:ext uri="{FF2B5EF4-FFF2-40B4-BE49-F238E27FC236}">
                <a16:creationId xmlns:a16="http://schemas.microsoft.com/office/drawing/2014/main" id="{B323FB2B-9F0E-40D7-9DF7-6512AA49013B}"/>
              </a:ext>
            </a:extLst>
          </p:cNvPr>
          <p:cNvSpPr/>
          <p:nvPr/>
        </p:nvSpPr>
        <p:spPr>
          <a:xfrm>
            <a:off x="226682" y="5162371"/>
            <a:ext cx="4899099" cy="952381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Predictive Analysis</a:t>
            </a:r>
          </a:p>
        </p:txBody>
      </p:sp>
    </p:spTree>
    <p:extLst>
      <p:ext uri="{BB962C8B-B14F-4D97-AF65-F5344CB8AC3E}">
        <p14:creationId xmlns:p14="http://schemas.microsoft.com/office/powerpoint/2010/main" val="27897187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933" y="2875003"/>
            <a:ext cx="11386134" cy="1061829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EDA</a:t>
            </a:r>
            <a:r>
              <a:rPr lang="en-GB" dirty="0"/>
              <a:t> - </a:t>
            </a:r>
            <a:r>
              <a:rPr lang="en-GB" dirty="0">
                <a:solidFill>
                  <a:schemeClr val="accent2"/>
                </a:solidFill>
              </a:rPr>
              <a:t>WITH VISUALIZATION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4830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Launch Site VS. FLIGHT NUMBER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5691187" cy="4951413"/>
          </a:xfrm>
        </p:spPr>
        <p:txBody>
          <a:bodyPr/>
          <a:lstStyle/>
          <a:p>
            <a:r>
              <a:rPr lang="en-GB" sz="1600" dirty="0">
                <a:solidFill>
                  <a:srgbClr val="F0F0F0"/>
                </a:solidFill>
              </a:rPr>
              <a:t>The scatter plot of Launch Site vs. Flight Number shows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As the number of flights increases, the rate of success at a launch site increas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Most of the early flights (flight numbers &lt; 30) were launched from CCAFS SLC 40, and were generally unsuccessful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The flights from VAFB SLC 4E also show this trend, that earlier flights were less successfu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No early flights were launched from KSC LC 39A, so the launches from this site are more successfu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Above a flight number of around 30, there are significantly more successful landings (Class = 1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600" dirty="0"/>
          </a:p>
        </p:txBody>
      </p:sp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5C6B8411-6279-4942-BECF-0E7DE08039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6039" y="1447800"/>
            <a:ext cx="5331147" cy="484279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D0AA795-522D-D0F3-A096-8A1933A957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8179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LAUNCH SITE vs. PAYLOAD MASS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4323035" cy="4951413"/>
          </a:xfrm>
        </p:spPr>
        <p:txBody>
          <a:bodyPr/>
          <a:lstStyle/>
          <a:p>
            <a:r>
              <a:rPr lang="en-GB" sz="1600" dirty="0">
                <a:solidFill>
                  <a:srgbClr val="F0F0F0"/>
                </a:solidFill>
              </a:rPr>
              <a:t>The scatter plot of Launch Site vs. Payload Mass shows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Above a payload mass of around 7000 kg, there are very few unsuccessful landings, but there is also far less data for these heavier launch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There is no clear correlation between payload mass and success rate for a given launch sit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All sites launched a variety of payload masses, with most of the launches from CCAFS SLC 40 being comparatively lighter payloads (with some outliers).</a:t>
            </a:r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55169FBA-5246-41EB-B939-86215F8A6E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3872" y="1484784"/>
            <a:ext cx="6843315" cy="399834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97A2AEA-C880-1B4D-CBFD-EB52B5885F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8903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Success Rate vs. Orbit Type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4683075" cy="4951413"/>
          </a:xfrm>
        </p:spPr>
        <p:txBody>
          <a:bodyPr/>
          <a:lstStyle/>
          <a:p>
            <a:r>
              <a:rPr lang="en-GB" sz="1600" dirty="0">
                <a:solidFill>
                  <a:srgbClr val="F0F0F0"/>
                </a:solidFill>
              </a:rPr>
              <a:t>The bar chart of Success Rate vs. Orbit Type shows that the following orbits have the highest (100%) success ra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ES-L1 (Earth-Sun First Lagrangian Poin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GEO (Geostationary Orbi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HEO (High Earth Orbi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SSO (Sun-synchronous Orbi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>
              <a:solidFill>
                <a:srgbClr val="F0F0F0"/>
              </a:solidFill>
            </a:endParaRPr>
          </a:p>
          <a:p>
            <a:r>
              <a:rPr lang="en-GB" sz="1600" dirty="0">
                <a:solidFill>
                  <a:srgbClr val="F0F0F0"/>
                </a:solidFill>
              </a:rPr>
              <a:t>The orbit with the lowest (0%) success rate i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SO (Heliocentric Orbit)</a:t>
            </a:r>
          </a:p>
        </p:txBody>
      </p:sp>
      <p:pic>
        <p:nvPicPr>
          <p:cNvPr id="5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E3DB5035-D572-425E-90E8-DECB9D02F3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7928" y="1457693"/>
            <a:ext cx="6334497" cy="430018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D3D41B4-8230-FC70-F6CB-DC03DACF1E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668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hlinkClick r:id="" action="ppaction://noaction"/>
            <a:extLst>
              <a:ext uri="{FF2B5EF4-FFF2-40B4-BE49-F238E27FC236}">
                <a16:creationId xmlns:a16="http://schemas.microsoft.com/office/drawing/2014/main" id="{065F3DF3-7DCA-43E6-B9BA-F24A44ED59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94769" y="4570959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F0F0F0"/>
                </a:solidFill>
              </a:rPr>
              <a:t>Appendix</a:t>
            </a:r>
          </a:p>
        </p:txBody>
      </p:sp>
      <p:sp>
        <p:nvSpPr>
          <p:cNvPr id="18" name="Rectangle 17">
            <a:hlinkClick r:id="" action="ppaction://noaction"/>
            <a:extLst>
              <a:ext uri="{FF2B5EF4-FFF2-40B4-BE49-F238E27FC236}">
                <a16:creationId xmlns:a16="http://schemas.microsoft.com/office/drawing/2014/main" id="{1BF4A50B-178E-482D-85E9-5D071A9EF42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07369" y="4570959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61AFEF"/>
                </a:solidFill>
              </a:rPr>
              <a:t>06</a:t>
            </a:r>
          </a:p>
        </p:txBody>
      </p:sp>
      <p:sp>
        <p:nvSpPr>
          <p:cNvPr id="16" name="Rectangle 15">
            <a:hlinkClick r:id="rId16" action="ppaction://hlinksldjump"/>
            <a:extLst>
              <a:ext uri="{FF2B5EF4-FFF2-40B4-BE49-F238E27FC236}">
                <a16:creationId xmlns:a16="http://schemas.microsoft.com/office/drawing/2014/main" id="{78A5BD09-27BF-4985-9769-14B3FC8052D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94769" y="4011127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F0F0F0"/>
                </a:solidFill>
              </a:rPr>
              <a:t>Conclusions</a:t>
            </a:r>
          </a:p>
        </p:txBody>
      </p:sp>
      <p:sp>
        <p:nvSpPr>
          <p:cNvPr id="15" name="Rectangle 14">
            <a:hlinkClick r:id="rId16" action="ppaction://hlinksldjump"/>
            <a:extLst>
              <a:ext uri="{FF2B5EF4-FFF2-40B4-BE49-F238E27FC236}">
                <a16:creationId xmlns:a16="http://schemas.microsoft.com/office/drawing/2014/main" id="{0965A3A3-B66E-4C90-8D56-CB0808922BF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7369" y="4011127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61AFEF"/>
                </a:solidFill>
              </a:rPr>
              <a:t>05</a:t>
            </a:r>
          </a:p>
        </p:txBody>
      </p:sp>
      <p:sp>
        <p:nvSpPr>
          <p:cNvPr id="13" name="Rectangle 12">
            <a:hlinkClick r:id="rId17" action="ppaction://hlinksldjump"/>
            <a:extLst>
              <a:ext uri="{FF2B5EF4-FFF2-40B4-BE49-F238E27FC236}">
                <a16:creationId xmlns:a16="http://schemas.microsoft.com/office/drawing/2014/main" id="{4D6BAE52-5972-4601-8F24-6B4E513B129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94769" y="3451295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F0F0F0"/>
                </a:solidFill>
              </a:rPr>
              <a:t>Results</a:t>
            </a:r>
          </a:p>
        </p:txBody>
      </p:sp>
      <p:sp>
        <p:nvSpPr>
          <p:cNvPr id="12" name="Rectangle 11">
            <a:hlinkClick r:id="rId17" action="ppaction://hlinksldjump"/>
            <a:extLst>
              <a:ext uri="{FF2B5EF4-FFF2-40B4-BE49-F238E27FC236}">
                <a16:creationId xmlns:a16="http://schemas.microsoft.com/office/drawing/2014/main" id="{EA9C00F2-A5CB-41EC-A0CE-FF29508B3AC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07369" y="3451295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61AFEF"/>
                </a:solidFill>
              </a:rPr>
              <a:t>04</a:t>
            </a:r>
          </a:p>
        </p:txBody>
      </p:sp>
      <p:sp>
        <p:nvSpPr>
          <p:cNvPr id="10" name="Rectangle 9">
            <a:hlinkClick r:id="rId18" action="ppaction://hlinksldjump"/>
            <a:extLst>
              <a:ext uri="{FF2B5EF4-FFF2-40B4-BE49-F238E27FC236}">
                <a16:creationId xmlns:a16="http://schemas.microsoft.com/office/drawing/2014/main" id="{B1A5EC81-C10F-44C5-90E9-B0AE59EA459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94769" y="2891463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F0F0F0"/>
                </a:solidFill>
              </a:rPr>
              <a:t>Methodology</a:t>
            </a:r>
          </a:p>
        </p:txBody>
      </p:sp>
      <p:sp>
        <p:nvSpPr>
          <p:cNvPr id="9" name="Rectangle 8">
            <a:hlinkClick r:id="rId18" action="ppaction://hlinksldjump"/>
            <a:extLst>
              <a:ext uri="{FF2B5EF4-FFF2-40B4-BE49-F238E27FC236}">
                <a16:creationId xmlns:a16="http://schemas.microsoft.com/office/drawing/2014/main" id="{512F0378-6D43-4623-8FED-9185E915F1B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07369" y="2891463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61AFEF"/>
                </a:solidFill>
              </a:rPr>
              <a:t>03</a:t>
            </a:r>
          </a:p>
        </p:txBody>
      </p:sp>
      <p:sp>
        <p:nvSpPr>
          <p:cNvPr id="7" name="Rectangle 6">
            <a:hlinkClick r:id="rId19" action="ppaction://hlinksldjump"/>
            <a:extLst>
              <a:ext uri="{FF2B5EF4-FFF2-40B4-BE49-F238E27FC236}">
                <a16:creationId xmlns:a16="http://schemas.microsoft.com/office/drawing/2014/main" id="{4F7A5919-95F3-47F3-AB7E-F51A0B7358C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194769" y="2331631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F0F0F0"/>
                </a:solidFill>
              </a:rPr>
              <a:t>Introduction</a:t>
            </a:r>
          </a:p>
        </p:txBody>
      </p:sp>
      <p:sp>
        <p:nvSpPr>
          <p:cNvPr id="6" name="Rectangle 5">
            <a:hlinkClick r:id="rId19" action="ppaction://hlinksldjump"/>
            <a:extLst>
              <a:ext uri="{FF2B5EF4-FFF2-40B4-BE49-F238E27FC236}">
                <a16:creationId xmlns:a16="http://schemas.microsoft.com/office/drawing/2014/main" id="{36702C2B-D30F-4AAD-876B-44849EBF6DC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07369" y="2331631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61AFEF"/>
                </a:solidFill>
              </a:rPr>
              <a:t>02</a:t>
            </a:r>
          </a:p>
        </p:txBody>
      </p:sp>
      <p:sp>
        <p:nvSpPr>
          <p:cNvPr id="4" name="Rectangle 3">
            <a:hlinkClick r:id="rId20" action="ppaction://hlinksldjump"/>
            <a:extLst>
              <a:ext uri="{FF2B5EF4-FFF2-40B4-BE49-F238E27FC236}">
                <a16:creationId xmlns:a16="http://schemas.microsoft.com/office/drawing/2014/main" id="{A7F82AF1-1BE4-44B1-9360-3CD9C691B8C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94769" y="1771799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F0F0F0"/>
                </a:solidFill>
              </a:rPr>
              <a:t>Executive Summary</a:t>
            </a:r>
          </a:p>
        </p:txBody>
      </p:sp>
      <p:sp>
        <p:nvSpPr>
          <p:cNvPr id="3" name="Rectangle 2">
            <a:hlinkClick r:id="rId20" action="ppaction://hlinksldjump"/>
            <a:extLst>
              <a:ext uri="{FF2B5EF4-FFF2-40B4-BE49-F238E27FC236}">
                <a16:creationId xmlns:a16="http://schemas.microsoft.com/office/drawing/2014/main" id="{EF1A8085-A16A-4345-96A5-4A77B9ED2DC5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407369" y="1771799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61AFEF"/>
                </a:solidFill>
              </a:rPr>
              <a:t>01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A7942F-E308-45F3-899D-1E7F9E29A512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/>
        <p:txBody>
          <a:bodyPr/>
          <a:lstStyle/>
          <a:p>
            <a:r>
              <a:rPr lang="en-US" dirty="0">
                <a:solidFill>
                  <a:srgbClr val="C211DF"/>
                </a:solidFill>
              </a:rPr>
              <a:t>OUTLIN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CBA3D8B-9623-6AF3-A699-B3D52F3341A8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197661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Orbit Type vs. flight number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4611067" cy="4951413"/>
          </a:xfrm>
        </p:spPr>
        <p:txBody>
          <a:bodyPr/>
          <a:lstStyle/>
          <a:p>
            <a:r>
              <a:rPr lang="en-GB" sz="1600" dirty="0">
                <a:solidFill>
                  <a:srgbClr val="F0F0F0"/>
                </a:solidFill>
              </a:rPr>
              <a:t>This scatter plot of Orbit Type vs. Flight number shows a few useful things that the previous plots did not, such a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The 100% success rate of GEO, HEO, and ES-L1 orbits can be explained by only having 1 flight into the respective orbit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The 100% success rate in SSO is more impressive, with 5 successful fligh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There is little relationship between Flight Number and Success Rate for GT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Generally, as Flight Number increases, the success rate increases. This is most extreme for LEO, where unsuccessful landings only occurred for the low flight numbers (early launch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600" dirty="0"/>
          </a:p>
        </p:txBody>
      </p:sp>
      <p:pic>
        <p:nvPicPr>
          <p:cNvPr id="5" name="Picture 4" descr="Chart, scatter chart&#10;&#10;Description automatically generated">
            <a:extLst>
              <a:ext uri="{FF2B5EF4-FFF2-40B4-BE49-F238E27FC236}">
                <a16:creationId xmlns:a16="http://schemas.microsoft.com/office/drawing/2014/main" id="{D7DE6A59-7FE8-4904-BC04-04086A45EB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300" y="1447800"/>
            <a:ext cx="6488888" cy="426038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C1E1DA7-8440-F597-438D-77E40AC8FE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9106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ORBIT TYPE VS. PAYLOAD MASS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4827091" cy="4951413"/>
          </a:xfrm>
        </p:spPr>
        <p:txBody>
          <a:bodyPr/>
          <a:lstStyle/>
          <a:p>
            <a:r>
              <a:rPr lang="en-GB" sz="1600" dirty="0">
                <a:solidFill>
                  <a:srgbClr val="F0F0F0"/>
                </a:solidFill>
              </a:rPr>
              <a:t>This scatter plot of Orbit Type vs. Payload Mass shows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The following orbit types have more success with heavy payloads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PO (although the number of data points is small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ISS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LE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For GTO, the relationship between payload mass and success rate is uncle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VLEO (Very Low Earth Orbit) launches are associated with heavier payloads, which makes intuitive sens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600" dirty="0"/>
          </a:p>
        </p:txBody>
      </p:sp>
      <p:pic>
        <p:nvPicPr>
          <p:cNvPr id="8" name="Picture 7" descr="Chart, scatter chart&#10;&#10;Description automatically generated">
            <a:extLst>
              <a:ext uri="{FF2B5EF4-FFF2-40B4-BE49-F238E27FC236}">
                <a16:creationId xmlns:a16="http://schemas.microsoft.com/office/drawing/2014/main" id="{0F7D7359-C671-4EFA-B6BA-5AB82E5E4F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3441" y="1447799"/>
            <a:ext cx="6043746" cy="389919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B128314-8796-DB89-D849-093397FC27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7159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Launch Success Yearly Trend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5259139" cy="4951413"/>
          </a:xfrm>
        </p:spPr>
        <p:txBody>
          <a:bodyPr/>
          <a:lstStyle/>
          <a:p>
            <a:r>
              <a:rPr lang="en-GB" sz="1600" dirty="0">
                <a:solidFill>
                  <a:srgbClr val="F0F0F0"/>
                </a:solidFill>
              </a:rPr>
              <a:t>The line chart of yearly average success rate shows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Between 2010 and 2013, all landings were unsuccessful (as the success rate is 0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After 2013, the success rate generally increased, despite small dips in 2018 and 202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After 2016, there was always a greater than 50% chance of success.</a:t>
            </a:r>
          </a:p>
        </p:txBody>
      </p:sp>
      <p:pic>
        <p:nvPicPr>
          <p:cNvPr id="5" name="Picture 4" descr="Chart&#10;&#10;Description automatically generated with medium confidence">
            <a:extLst>
              <a:ext uri="{FF2B5EF4-FFF2-40B4-BE49-F238E27FC236}">
                <a16:creationId xmlns:a16="http://schemas.microsoft.com/office/drawing/2014/main" id="{74B0CCA0-DFEF-4B88-9E2F-5F59C2C95C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968" y="1430896"/>
            <a:ext cx="5979219" cy="407348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F07FE62-944D-4ECD-C0FB-8323E81092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0328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933" y="2875003"/>
            <a:ext cx="11386134" cy="1061829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EDA</a:t>
            </a:r>
            <a:r>
              <a:rPr lang="en-GB" dirty="0"/>
              <a:t> - </a:t>
            </a:r>
            <a:r>
              <a:rPr lang="en-GB" dirty="0">
                <a:solidFill>
                  <a:schemeClr val="accent2"/>
                </a:solidFill>
              </a:rPr>
              <a:t>WITH SQL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7195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All Launch Site Names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1002" y="1432263"/>
            <a:ext cx="11382374" cy="4951413"/>
          </a:xfrm>
        </p:spPr>
        <p:txBody>
          <a:bodyPr/>
          <a:lstStyle/>
          <a:p>
            <a:r>
              <a:rPr lang="en-GB" dirty="0">
                <a:solidFill>
                  <a:srgbClr val="F0F0F0"/>
                </a:solidFill>
              </a:rPr>
              <a:t>Find the names of the unique launch sites.</a:t>
            </a:r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r>
              <a:rPr lang="en-GB" dirty="0">
                <a:solidFill>
                  <a:srgbClr val="F0F0F0"/>
                </a:solidFill>
              </a:rPr>
              <a:t>The word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UNIQUE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returns only unique values from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LAUNCH_SITE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column of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SPACEXTBL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table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37ED244-1CA2-4FC0-A950-0A159CC785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40416" y="2290999"/>
            <a:ext cx="1946771" cy="227600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1C53322C-9E51-4115-A482-EF76877B1F6F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13" name="Picture 1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846E2ECD-CD23-4E88-8141-3D76CEFB69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950" y="2680966"/>
            <a:ext cx="7574825" cy="149606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40298EE-0293-9651-667A-F1835DF778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80188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Launch Site Names Begin with 'CCA'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GB" dirty="0">
                <a:solidFill>
                  <a:srgbClr val="F0F0F0"/>
                </a:solidFill>
              </a:rPr>
              <a:t>Find 5 records where launch sites begin with ‘CCA’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LIMIT 5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fetches only 5 records, and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LIKE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is used with the wild card </a:t>
            </a:r>
            <a:r>
              <a:rPr lang="en-GB" dirty="0">
                <a:solidFill>
                  <a:srgbClr val="789865"/>
                </a:solidFill>
                <a:latin typeface="Consolas" panose="020B0609020204030204" pitchFamily="49" charset="0"/>
              </a:rPr>
              <a:t>‘CCA%’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to retrieve string values beginning with ‘CCA’. </a:t>
            </a:r>
          </a:p>
          <a:p>
            <a:endParaRPr lang="en-GB" dirty="0"/>
          </a:p>
        </p:txBody>
      </p:sp>
      <p:pic>
        <p:nvPicPr>
          <p:cNvPr id="5" name="Picture 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39345D-4695-4B4C-BB7C-CD29C2AFC9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2560726"/>
            <a:ext cx="7875241" cy="170615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9205A87-4C93-4F34-8255-9BAAB28FCD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9717" y="2276315"/>
            <a:ext cx="1658891" cy="230537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F4AC64F1-8C9D-4DBB-8A19-981829822467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843176F-7973-7671-173E-27125FB670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5595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Total Payload Mass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GB" dirty="0">
                <a:solidFill>
                  <a:srgbClr val="F0F0F0"/>
                </a:solidFill>
              </a:rPr>
              <a:t>Calculate the total payload carried by boosters from NASA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>
                <a:solidFill>
                  <a:srgbClr val="F0F0F0"/>
                </a:solidFill>
              </a:rPr>
              <a:t>The</a:t>
            </a:r>
            <a:r>
              <a:rPr lang="en-GB" dirty="0"/>
              <a:t>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SUM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is used to calculate the total of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LAUNCH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column, and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SUM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(and the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associated condition) filters the results to only boosters from NASA (CRS)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pic>
        <p:nvPicPr>
          <p:cNvPr id="9" name="Picture 8" descr="Graphical user interface&#10;&#10;Description automatically generated">
            <a:extLst>
              <a:ext uri="{FF2B5EF4-FFF2-40B4-BE49-F238E27FC236}">
                <a16:creationId xmlns:a16="http://schemas.microsoft.com/office/drawing/2014/main" id="{BC50FD34-5E89-43E4-B0A3-875A7B0B1E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370" y="2481012"/>
            <a:ext cx="7718051" cy="189597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02038D2-65BB-44EC-A438-BB9B2605B1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45997" y="3004226"/>
            <a:ext cx="2141190" cy="8253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5D85504F-EB95-434D-BFDE-57EEB165C10F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1880EAE-581B-7D61-1FE3-0910339F02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7906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Average Payload Mass by F9 v1.1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>
                <a:solidFill>
                  <a:srgbClr val="F0F0F0"/>
                </a:solidFill>
              </a:rPr>
              <a:t>Calculate the average payload mass carried by booster version F9 v1.1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>
                <a:solidFill>
                  <a:srgbClr val="F0F0F0"/>
                </a:solidFill>
              </a:rPr>
              <a:t>The</a:t>
            </a:r>
            <a:r>
              <a:rPr lang="en-GB" dirty="0"/>
              <a:t>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AVG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is used to calculate the average of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PAYLOAD_MASS__KG_</a:t>
            </a:r>
            <a:r>
              <a:rPr lang="en-GB" dirty="0">
                <a:solidFill>
                  <a:srgbClr val="D69D68"/>
                </a:solidFill>
                <a:latin typeface="+mj-lt"/>
              </a:rPr>
              <a:t> </a:t>
            </a:r>
            <a:r>
              <a:rPr lang="en-GB" dirty="0">
                <a:solidFill>
                  <a:srgbClr val="F0F0F0"/>
                </a:solidFill>
              </a:rPr>
              <a:t>column, and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>
                <a:solidFill>
                  <a:srgbClr val="61AFEF"/>
                </a:solidFill>
              </a:rPr>
              <a:t> </a:t>
            </a:r>
            <a:r>
              <a:rPr lang="en-GB" dirty="0">
                <a:solidFill>
                  <a:srgbClr val="F0F0F0"/>
                </a:solidFill>
              </a:rPr>
              <a:t>keyword (and the associated condition) filters the results to only the F9 v1.1 booster version.</a:t>
            </a:r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6076630-D089-4035-BE64-B1AC97D7C1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54161" y="3053285"/>
            <a:ext cx="2217349" cy="77499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1" name="Picture 1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A28D3CA6-E066-48F2-83D6-0C47F82096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2459130"/>
            <a:ext cx="7896200" cy="193973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2" name="Arrow: Right 11">
            <a:extLst>
              <a:ext uri="{FF2B5EF4-FFF2-40B4-BE49-F238E27FC236}">
                <a16:creationId xmlns:a16="http://schemas.microsoft.com/office/drawing/2014/main" id="{801B4DEE-B97E-4921-9A67-9F2D2730D05E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4A9DF57-380E-EADE-0E69-8F62CAD71A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2928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3" y="609600"/>
            <a:ext cx="9667139" cy="1320800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FIRST SUCCESSFUL GROUND LANDING DATE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628800"/>
            <a:ext cx="11406187" cy="4770413"/>
          </a:xfrm>
        </p:spPr>
        <p:txBody>
          <a:bodyPr>
            <a:normAutofit lnSpcReduction="10000"/>
          </a:bodyPr>
          <a:lstStyle/>
          <a:p>
            <a:r>
              <a:rPr lang="en-GB" dirty="0">
                <a:solidFill>
                  <a:srgbClr val="F0F0F0"/>
                </a:solidFill>
              </a:rPr>
              <a:t>Find the dates of the first successful landing outcome on ground pad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>
                <a:solidFill>
                  <a:srgbClr val="F0F0F0"/>
                </a:solidFill>
              </a:rPr>
              <a:t>The</a:t>
            </a:r>
            <a:r>
              <a:rPr lang="en-GB" dirty="0"/>
              <a:t>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MIN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is used to calculate the minimum of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DATE</a:t>
            </a:r>
            <a:r>
              <a:rPr lang="en-GB" dirty="0">
                <a:solidFill>
                  <a:srgbClr val="D69D68"/>
                </a:solidFill>
              </a:rPr>
              <a:t> </a:t>
            </a:r>
            <a:r>
              <a:rPr lang="en-GB" dirty="0">
                <a:solidFill>
                  <a:srgbClr val="F0F0F0"/>
                </a:solidFill>
              </a:rPr>
              <a:t>column, i.e. the first date, and the</a:t>
            </a:r>
            <a:r>
              <a:rPr lang="en-GB" dirty="0"/>
              <a:t>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>
                <a:solidFill>
                  <a:srgbClr val="61AFEF"/>
                </a:solidFill>
              </a:rPr>
              <a:t> </a:t>
            </a:r>
            <a:r>
              <a:rPr lang="en-GB" dirty="0">
                <a:solidFill>
                  <a:srgbClr val="F0F0F0"/>
                </a:solidFill>
              </a:rPr>
              <a:t>keyword (and the associated condition) filters the results to only the successful ground pad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landings.</a:t>
            </a:r>
          </a:p>
          <a:p>
            <a:endParaRPr lang="en-GB" dirty="0"/>
          </a:p>
        </p:txBody>
      </p:sp>
      <p:pic>
        <p:nvPicPr>
          <p:cNvPr id="10" name="Picture 9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4D323A5A-6436-4B65-9875-46D8967115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3" y="2462517"/>
            <a:ext cx="7837128" cy="192522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F7CE297-E8D5-47EE-A874-5A05AD52E1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69381" y="3081638"/>
            <a:ext cx="2412315" cy="69419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95549343-9BDE-4AD6-956A-51D7C55E2D4D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A912C3F-EA6A-A590-1460-E9255925FE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2815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3" y="609600"/>
            <a:ext cx="10243203" cy="1320800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Successful Drone Ship Landing with Payload between 4000 and 6000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844824"/>
            <a:ext cx="11406187" cy="4554389"/>
          </a:xfrm>
        </p:spPr>
        <p:txBody>
          <a:bodyPr>
            <a:normAutofit lnSpcReduction="10000"/>
          </a:bodyPr>
          <a:lstStyle/>
          <a:p>
            <a:r>
              <a:rPr lang="en-GB" dirty="0">
                <a:solidFill>
                  <a:srgbClr val="F0F0F0"/>
                </a:solidFill>
              </a:rPr>
              <a:t>List the names of boosters which have successfully landed on drone ship and had payload mass greater than 4000 but less than 6000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is used to filter the results to include only those that satisfy both conditions in the brackets (as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AND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is also used).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BETWEEN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allows for 4000 &lt; x &lt; 6000 values to be selected.</a:t>
            </a:r>
          </a:p>
          <a:p>
            <a:endParaRPr lang="en-GB" dirty="0"/>
          </a:p>
        </p:txBody>
      </p:sp>
      <p:pic>
        <p:nvPicPr>
          <p:cNvPr id="5" name="Picture 4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71C3FEA7-96A8-4984-AD5D-6171B6995C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3" y="2684137"/>
            <a:ext cx="7851427" cy="147693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7DB6356-78B7-479A-A3F7-0FB23A0572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89609" y="2397655"/>
            <a:ext cx="2076084" cy="20626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8110911A-B0A5-4963-A1A6-A1E9F9E4AD9F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0D2391-6E36-4467-7B72-F126E25B2C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8526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hart&#10;&#10;Description automatically generated with medium confidence">
            <a:extLst>
              <a:ext uri="{FF2B5EF4-FFF2-40B4-BE49-F238E27FC236}">
                <a16:creationId xmlns:a16="http://schemas.microsoft.com/office/drawing/2014/main" id="{D8442E8E-37C2-487B-870C-2D6D735A9E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0373" y="3431639"/>
            <a:ext cx="2496442" cy="1908239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7" name="Titre 6">
            <a:extLst>
              <a:ext uri="{FF2B5EF4-FFF2-40B4-BE49-F238E27FC236}">
                <a16:creationId xmlns:a16="http://schemas.microsoft.com/office/drawing/2014/main" id="{96AC31C0-0EA4-4715-86E2-052D63B2D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C211DF"/>
                </a:solidFill>
              </a:rPr>
              <a:t>EXECUTIVE SUMMARY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62331484-B8FF-4E3E-BF36-A07F2A79E7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142" y="1447800"/>
            <a:ext cx="6282624" cy="4951413"/>
          </a:xfrm>
        </p:spPr>
        <p:txBody>
          <a:bodyPr>
            <a:normAutofit fontScale="92500" lnSpcReduction="10000"/>
          </a:bodyPr>
          <a:lstStyle/>
          <a:p>
            <a:pPr algn="l"/>
            <a:r>
              <a:rPr lang="en-GB" sz="2000" i="0" dirty="0">
                <a:solidFill>
                  <a:srgbClr val="00B0F0"/>
                </a:solidFill>
                <a:effectLst/>
              </a:rPr>
              <a:t>Summary of Methodologies:</a:t>
            </a:r>
          </a:p>
          <a:p>
            <a:pPr marL="184150" lvl="2" indent="0">
              <a:buNone/>
            </a:pPr>
            <a:r>
              <a:rPr lang="en-GB" sz="1800" i="0" dirty="0">
                <a:solidFill>
                  <a:srgbClr val="F0F0F0"/>
                </a:solidFill>
                <a:effectLst/>
              </a:rPr>
              <a:t>This project follows </a:t>
            </a:r>
            <a:r>
              <a:rPr lang="en-GB" sz="1800" dirty="0">
                <a:solidFill>
                  <a:srgbClr val="F0F0F0"/>
                </a:solidFill>
              </a:rPr>
              <a:t>these </a:t>
            </a:r>
            <a:r>
              <a:rPr lang="en-GB" sz="1800" i="0" dirty="0">
                <a:solidFill>
                  <a:srgbClr val="F0F0F0"/>
                </a:solidFill>
                <a:effectLst/>
              </a:rPr>
              <a:t>steps: </a:t>
            </a:r>
          </a:p>
          <a:p>
            <a:pPr marL="819150" lvl="2" indent="-457200"/>
            <a:r>
              <a:rPr lang="en-GB" i="0" dirty="0">
                <a:solidFill>
                  <a:srgbClr val="F0F0F0"/>
                </a:solidFill>
                <a:effectLst/>
              </a:rPr>
              <a:t>Data Collection</a:t>
            </a:r>
          </a:p>
          <a:p>
            <a:pPr marL="819150" lvl="2" indent="-457200"/>
            <a:r>
              <a:rPr lang="en-GB" dirty="0">
                <a:solidFill>
                  <a:srgbClr val="F0F0F0"/>
                </a:solidFill>
              </a:rPr>
              <a:t>Data Wrangling</a:t>
            </a:r>
            <a:r>
              <a:rPr lang="en-GB" i="0" dirty="0">
                <a:solidFill>
                  <a:srgbClr val="F0F0F0"/>
                </a:solidFill>
                <a:effectLst/>
              </a:rPr>
              <a:t> </a:t>
            </a:r>
          </a:p>
          <a:p>
            <a:pPr marL="819150" lvl="2" indent="-457200"/>
            <a:r>
              <a:rPr lang="en-GB" i="0" dirty="0">
                <a:solidFill>
                  <a:srgbClr val="F0F0F0"/>
                </a:solidFill>
                <a:effectLst/>
              </a:rPr>
              <a:t>Exploratory Data Analysis</a:t>
            </a:r>
          </a:p>
          <a:p>
            <a:pPr marL="819150" lvl="2" indent="-457200"/>
            <a:r>
              <a:rPr lang="en-GB" dirty="0">
                <a:solidFill>
                  <a:srgbClr val="F0F0F0"/>
                </a:solidFill>
              </a:rPr>
              <a:t>Interactive Visual Analytics</a:t>
            </a:r>
          </a:p>
          <a:p>
            <a:pPr marL="819150" lvl="2" indent="-457200"/>
            <a:r>
              <a:rPr lang="en-GB" i="0" dirty="0">
                <a:solidFill>
                  <a:srgbClr val="F0F0F0"/>
                </a:solidFill>
                <a:effectLst/>
              </a:rPr>
              <a:t>Predictive Analysis (Classification)</a:t>
            </a:r>
          </a:p>
          <a:p>
            <a:pPr lvl="2" indent="0">
              <a:buNone/>
            </a:pPr>
            <a:endParaRPr lang="en-GB" dirty="0"/>
          </a:p>
          <a:p>
            <a:r>
              <a:rPr lang="en-GB" sz="2000" dirty="0">
                <a:solidFill>
                  <a:srgbClr val="00B0F0"/>
                </a:solidFill>
              </a:rPr>
              <a:t>Summary of Results:</a:t>
            </a:r>
          </a:p>
          <a:p>
            <a:pPr marL="184150" lvl="2" indent="0">
              <a:buNone/>
            </a:pPr>
            <a:r>
              <a:rPr lang="en-GB" sz="1800" i="0" dirty="0">
                <a:solidFill>
                  <a:srgbClr val="F0F0F0"/>
                </a:solidFill>
                <a:effectLst/>
              </a:rPr>
              <a:t>This project produced the following outputs and visualizations: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i="0" dirty="0">
                <a:solidFill>
                  <a:srgbClr val="F0F0F0"/>
                </a:solidFill>
                <a:effectLst/>
              </a:rPr>
              <a:t>Exploratory Data Analysis (EDA) results 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i="0" dirty="0">
                <a:solidFill>
                  <a:srgbClr val="F0F0F0"/>
                </a:solidFill>
                <a:effectLst/>
              </a:rPr>
              <a:t>Geospatial analytics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dirty="0">
                <a:solidFill>
                  <a:srgbClr val="F0F0F0"/>
                </a:solidFill>
              </a:rPr>
              <a:t>Interactive dashboard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i="0" dirty="0">
                <a:solidFill>
                  <a:srgbClr val="F0F0F0"/>
                </a:solidFill>
                <a:effectLst/>
              </a:rPr>
              <a:t>Predictive analysis of classification models</a:t>
            </a:r>
          </a:p>
          <a:p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32F75B6-D7DF-44D5-A965-AA890E09B1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0679" y="3458644"/>
            <a:ext cx="2345765" cy="2634652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226A540-05CE-433F-B2F1-A637EA9FC8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5763" y="1622523"/>
            <a:ext cx="2350681" cy="1515646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DD30B7B-4A9D-4352-8A66-45F757FA401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893" b="10631"/>
          <a:stretch/>
        </p:blipFill>
        <p:spPr>
          <a:xfrm>
            <a:off x="9119245" y="1622523"/>
            <a:ext cx="2547570" cy="1510595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F5EC60A8-E290-432C-9150-DC133F4983FB}"/>
              </a:ext>
            </a:extLst>
          </p:cNvPr>
          <p:cNvSpPr/>
          <p:nvPr/>
        </p:nvSpPr>
        <p:spPr>
          <a:xfrm>
            <a:off x="6240016" y="1463459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E91195E-1A45-4FAB-8DD4-2EB43A875AA0}"/>
              </a:ext>
            </a:extLst>
          </p:cNvPr>
          <p:cNvSpPr/>
          <p:nvPr/>
        </p:nvSpPr>
        <p:spPr>
          <a:xfrm>
            <a:off x="8992772" y="1469481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C9604FB-CA0E-4BD9-816B-F05BF0A255D9}"/>
              </a:ext>
            </a:extLst>
          </p:cNvPr>
          <p:cNvSpPr/>
          <p:nvPr/>
        </p:nvSpPr>
        <p:spPr>
          <a:xfrm>
            <a:off x="6240016" y="3299580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C6B3179-88F9-4EF1-829B-AD5296840D50}"/>
              </a:ext>
            </a:extLst>
          </p:cNvPr>
          <p:cNvSpPr/>
          <p:nvPr/>
        </p:nvSpPr>
        <p:spPr>
          <a:xfrm>
            <a:off x="8987003" y="3269936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9434C1B-B0D5-FDD6-5B20-CA815F27A2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70449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10099186" cy="1320800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Total Number of Successful and Failure Mission Outcomes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844824"/>
            <a:ext cx="11406187" cy="4554389"/>
          </a:xfrm>
        </p:spPr>
        <p:txBody>
          <a:bodyPr>
            <a:normAutofit fontScale="92500" lnSpcReduction="10000"/>
          </a:bodyPr>
          <a:lstStyle/>
          <a:p>
            <a:r>
              <a:rPr lang="en-GB" dirty="0">
                <a:solidFill>
                  <a:srgbClr val="F0F0F0"/>
                </a:solidFill>
              </a:rPr>
              <a:t>Calculate the total number of successful and failure mission outcome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>
                <a:solidFill>
                  <a:srgbClr val="F0F0F0"/>
                </a:solidFill>
              </a:rPr>
              <a:t>The</a:t>
            </a:r>
            <a:r>
              <a:rPr lang="en-GB" dirty="0"/>
              <a:t>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COUNT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is used to calculate the total number of mission outcomes, and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GROUPBY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is also used to group these results by the type of mission outcome.</a:t>
            </a:r>
          </a:p>
        </p:txBody>
      </p:sp>
      <p:pic>
        <p:nvPicPr>
          <p:cNvPr id="5" name="Picture 4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1B68E7D9-81E5-4460-973D-88FDAF9209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272" y="2855146"/>
            <a:ext cx="7780536" cy="121570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813E184-31A4-44F6-8E04-B0422120E8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7615" y="3009558"/>
            <a:ext cx="2458575" cy="8388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D00A55F6-95C7-4941-9E59-02BD45A5A209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549DC01-2E31-309D-A5BF-325E5C5C57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10342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Boosters Carried Maximum Payload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9219579" cy="4951413"/>
          </a:xfrm>
        </p:spPr>
        <p:txBody>
          <a:bodyPr/>
          <a:lstStyle/>
          <a:p>
            <a:r>
              <a:rPr lang="en-GB" dirty="0">
                <a:solidFill>
                  <a:srgbClr val="F0F0F0"/>
                </a:solidFill>
              </a:rPr>
              <a:t>List the names of the booster which have carried the maximum payload mass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>
                <a:solidFill>
                  <a:srgbClr val="F0F0F0"/>
                </a:solidFill>
              </a:rPr>
              <a:t>A subquery is used here.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SELECT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statement within the brackets finds the maximum payload, and this value is used in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condition.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DISTINCT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is then used to retrieve only distinct /unique booster versions. </a:t>
            </a:r>
          </a:p>
          <a:p>
            <a:endParaRPr lang="en-GB" dirty="0"/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8DB41782-2457-491F-AB72-BBC3943EAD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2" y="2606604"/>
            <a:ext cx="7812761" cy="164479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175836D-2FD9-429E-AE10-7F89B7A430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819" y="1344672"/>
            <a:ext cx="1797395" cy="416865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037B3AE1-6D36-4754-9B2A-EE291B5EC6E6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662FC7-B9C1-729E-82D8-6B885FDAF8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06083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2015 Launch Record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List the failed </a:t>
            </a:r>
            <a:r>
              <a:rPr lang="en-GB" dirty="0" err="1"/>
              <a:t>landing_outcomes</a:t>
            </a:r>
            <a:r>
              <a:rPr lang="en-GB" dirty="0"/>
              <a:t> in drone ship, their booster versions, and launch site names for in year 2015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/>
              <a:t> keyword is used to filter the results for only failed landing outcomes,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AND</a:t>
            </a:r>
            <a:r>
              <a:rPr lang="en-GB" dirty="0"/>
              <a:t> only for the year of 2015. </a:t>
            </a:r>
          </a:p>
          <a:p>
            <a:endParaRPr lang="en-GB" dirty="0"/>
          </a:p>
        </p:txBody>
      </p:sp>
      <p:pic>
        <p:nvPicPr>
          <p:cNvPr id="5" name="Picture 4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27D49347-C0E6-4AA9-B25C-30060E2444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96" y="2578315"/>
            <a:ext cx="7784504" cy="163884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5CB2688-64E0-47C0-BA64-C6A7DC60F6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2384" y="2981261"/>
            <a:ext cx="2457793" cy="8954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8316B8CA-7D59-4050-A066-9B5625E6A76F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B3EE61F-385B-7A31-E7D9-C80B4665FB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5681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328949"/>
            <a:ext cx="9667138" cy="1320800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Rank Landing Outcomes Between 2010-06-04 and 2017-03-20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3353" y="1772816"/>
            <a:ext cx="11547648" cy="4626397"/>
          </a:xfrm>
        </p:spPr>
        <p:txBody>
          <a:bodyPr>
            <a:normAutofit lnSpcReduction="10000"/>
          </a:bodyPr>
          <a:lstStyle/>
          <a:p>
            <a:r>
              <a:rPr lang="en-GB" dirty="0">
                <a:solidFill>
                  <a:srgbClr val="F0F0F0"/>
                </a:solidFill>
              </a:rPr>
              <a:t>Rank the count of landing outcomes (such as Failure (drone ship) or Success (ground pad)) between the date 2010-06-04 and 2017-03-20, in descending order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>
                <a:solidFill>
                  <a:srgbClr val="F0F0F0"/>
                </a:solidFill>
              </a:rPr>
              <a:t>The</a:t>
            </a:r>
            <a:r>
              <a:rPr lang="en-GB" dirty="0"/>
              <a:t>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is used with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BETWEEN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keyword to filter the results to dates only within those specified. The results are then grouped and ordered, using the keywords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GROUP BY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and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ORDER BY</a:t>
            </a:r>
            <a:r>
              <a:rPr lang="en-GB" dirty="0"/>
              <a:t>, </a:t>
            </a:r>
            <a:r>
              <a:rPr lang="en-GB" dirty="0">
                <a:solidFill>
                  <a:srgbClr val="F0F0F0"/>
                </a:solidFill>
              </a:rPr>
              <a:t>respectively, wher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DESC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is used to specify the descending order.</a:t>
            </a:r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E1ACC389-5CD4-4704-8926-D2C2BC056C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135" y="2438889"/>
            <a:ext cx="7789385" cy="198022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60491BC-24C6-41C4-B191-B66AC1EDF4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2384" y="2356683"/>
            <a:ext cx="2506531" cy="222444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00593BBD-21D6-4EFD-BA6D-CF55DBAFE911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62D9F46-79A5-BE62-2B18-7FC1C62528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42475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1277178"/>
            <a:ext cx="11386134" cy="3093154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LAUNCH SITES PROXIMITY ANALYSIS </a:t>
            </a:r>
            <a:r>
              <a:rPr lang="en-GB" dirty="0"/>
              <a:t>– </a:t>
            </a:r>
            <a:r>
              <a:rPr lang="en-GB" dirty="0">
                <a:solidFill>
                  <a:schemeClr val="accent2"/>
                </a:solidFill>
              </a:rPr>
              <a:t>FOLIUM INTERACTIVE MAP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90343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166" y="192200"/>
            <a:ext cx="8596668" cy="1320800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ALL LAUNCH SITES ON A MAP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4458153"/>
            <a:ext cx="6051227" cy="2129771"/>
          </a:xfrm>
        </p:spPr>
        <p:txBody>
          <a:bodyPr anchor="ctr"/>
          <a:lstStyle/>
          <a:p>
            <a:r>
              <a:rPr lang="en-GB" dirty="0">
                <a:solidFill>
                  <a:srgbClr val="F0F0F0"/>
                </a:solidFill>
              </a:rPr>
              <a:t>All SpaceX launch sites are on coasts of the United States of America, specifically Florida and California. </a:t>
            </a:r>
          </a:p>
          <a:p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30E6953-316E-42EB-95D1-99F67DA414D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863"/>
          <a:stretch/>
        </p:blipFill>
        <p:spPr>
          <a:xfrm>
            <a:off x="404813" y="1248491"/>
            <a:ext cx="5418250" cy="297259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F1A4898-110E-45CB-9796-031F12CC5C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9060" y="1250836"/>
            <a:ext cx="5065572" cy="297025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D5DAAF4-F0FD-496A-A5FD-EDD46E8D92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3248" y="4448726"/>
            <a:ext cx="1800200" cy="214862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4F9D811-0565-48B1-B761-E038A313E4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35496" y="4458153"/>
            <a:ext cx="2849136" cy="212977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431E1EE-7A9E-47B1-8975-52E55A84DDFB}"/>
              </a:ext>
            </a:extLst>
          </p:cNvPr>
          <p:cNvCxnSpPr>
            <a:cxnSpLocks/>
          </p:cNvCxnSpPr>
          <p:nvPr/>
        </p:nvCxnSpPr>
        <p:spPr>
          <a:xfrm flipV="1">
            <a:off x="4657725" y="3021806"/>
            <a:ext cx="6115050" cy="72390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11FF143-CEC6-4CA3-89FE-0F8B1F81702C}"/>
              </a:ext>
            </a:extLst>
          </p:cNvPr>
          <p:cNvCxnSpPr>
            <a:cxnSpLocks/>
          </p:cNvCxnSpPr>
          <p:nvPr/>
        </p:nvCxnSpPr>
        <p:spPr>
          <a:xfrm flipH="1">
            <a:off x="10439400" y="3255169"/>
            <a:ext cx="754856" cy="186293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7479C3A5-0B3A-45AB-A779-91C6A72446F6}"/>
              </a:ext>
            </a:extLst>
          </p:cNvPr>
          <p:cNvCxnSpPr>
            <a:cxnSpLocks/>
          </p:cNvCxnSpPr>
          <p:nvPr/>
        </p:nvCxnSpPr>
        <p:spPr>
          <a:xfrm flipH="1" flipV="1">
            <a:off x="7997825" y="5254625"/>
            <a:ext cx="2273300" cy="36195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B7DCAF0C-63F9-CCBA-7DFE-FC3E213594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9522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18" y="241910"/>
            <a:ext cx="9516030" cy="1320800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SUCCESS/FAILED LAUNCHES FOR EACH SITE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7174" y="1447801"/>
            <a:ext cx="5203825" cy="2139004"/>
          </a:xfrm>
        </p:spPr>
        <p:txBody>
          <a:bodyPr anchor="ctr"/>
          <a:lstStyle/>
          <a:p>
            <a:r>
              <a:rPr lang="en-GB" dirty="0">
                <a:solidFill>
                  <a:srgbClr val="F0F0F0"/>
                </a:solidFill>
              </a:rPr>
              <a:t>Launches have been grouped into clusters, and annotated with </a:t>
            </a:r>
            <a:r>
              <a:rPr lang="en-GB" dirty="0">
                <a:solidFill>
                  <a:srgbClr val="058A05"/>
                </a:solidFill>
              </a:rPr>
              <a:t>green icons </a:t>
            </a:r>
            <a:r>
              <a:rPr lang="en-GB" dirty="0">
                <a:solidFill>
                  <a:srgbClr val="F0F0F0"/>
                </a:solidFill>
              </a:rPr>
              <a:t>for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successful launches, and </a:t>
            </a:r>
            <a:r>
              <a:rPr lang="en-GB" dirty="0">
                <a:solidFill>
                  <a:srgbClr val="FF0505"/>
                </a:solidFill>
              </a:rPr>
              <a:t>red icons </a:t>
            </a:r>
            <a:r>
              <a:rPr lang="en-GB" dirty="0">
                <a:solidFill>
                  <a:srgbClr val="F0F0F0"/>
                </a:solidFill>
              </a:rPr>
              <a:t>for failed launche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2AA3B8A-3CD7-47BB-B21C-38E0FA0819A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48" r="9066" b="33706"/>
          <a:stretch/>
        </p:blipFill>
        <p:spPr>
          <a:xfrm>
            <a:off x="373295" y="1556792"/>
            <a:ext cx="4729603" cy="216024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F5D76AB-E091-47AB-A966-C5CD296A8B4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568" t="15992" r="18660" b="13989"/>
          <a:stretch/>
        </p:blipFill>
        <p:spPr>
          <a:xfrm>
            <a:off x="6663712" y="4048112"/>
            <a:ext cx="1880560" cy="223417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ECC085B-B9D2-4EAC-82D4-CB8F3EE450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863" t="14943" r="18395" b="15057"/>
          <a:stretch/>
        </p:blipFill>
        <p:spPr>
          <a:xfrm>
            <a:off x="9740275" y="4043176"/>
            <a:ext cx="1880560" cy="223417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62D8F57-0A7F-4E3A-9FD1-1C052BAC7A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31497" y="4625120"/>
            <a:ext cx="2362726" cy="16842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042C343-0EF8-49CE-B308-CDA647A307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3295" y="4436805"/>
            <a:ext cx="1732666" cy="186594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A010C29-FACA-4FCC-8071-A538F22931E5}"/>
              </a:ext>
            </a:extLst>
          </p:cNvPr>
          <p:cNvCxnSpPr>
            <a:cxnSpLocks/>
          </p:cNvCxnSpPr>
          <p:nvPr/>
        </p:nvCxnSpPr>
        <p:spPr>
          <a:xfrm flipH="1">
            <a:off x="571165" y="2828925"/>
            <a:ext cx="286085" cy="153590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846C6886-0DA4-41B4-9089-8CC8574CAC1F}"/>
              </a:ext>
            </a:extLst>
          </p:cNvPr>
          <p:cNvCxnSpPr>
            <a:cxnSpLocks/>
          </p:cNvCxnSpPr>
          <p:nvPr/>
        </p:nvCxnSpPr>
        <p:spPr>
          <a:xfrm flipH="1">
            <a:off x="3590476" y="3374548"/>
            <a:ext cx="414911" cy="121258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BFFCB056-11ED-4BB9-8976-35C2C46E8C91}"/>
              </a:ext>
            </a:extLst>
          </p:cNvPr>
          <p:cNvCxnSpPr>
            <a:cxnSpLocks/>
          </p:cNvCxnSpPr>
          <p:nvPr/>
        </p:nvCxnSpPr>
        <p:spPr>
          <a:xfrm>
            <a:off x="4060031" y="3331369"/>
            <a:ext cx="2518707" cy="886429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80D44313-C0AE-4654-9D60-DEC2AF70D33D}"/>
                  </a:ext>
                </a:extLst>
              </p:cNvPr>
              <p:cNvSpPr txBox="1"/>
              <p:nvPr/>
            </p:nvSpPr>
            <p:spPr>
              <a:xfrm>
                <a:off x="8992393" y="4972188"/>
                <a:ext cx="299761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GB" sz="24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80D44313-C0AE-4654-9D60-DEC2AF70D3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92393" y="4972188"/>
                <a:ext cx="299761" cy="369332"/>
              </a:xfrm>
              <a:prstGeom prst="rect">
                <a:avLst/>
              </a:prstGeom>
              <a:blipFill>
                <a:blip r:embed="rId7"/>
                <a:stretch>
                  <a:fillRect l="-10204" r="-1020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9" name="TextBox 38">
            <a:extLst>
              <a:ext uri="{FF2B5EF4-FFF2-40B4-BE49-F238E27FC236}">
                <a16:creationId xmlns:a16="http://schemas.microsoft.com/office/drawing/2014/main" id="{44CF0C46-6155-4C75-A554-8D2029DED5AE}"/>
              </a:ext>
            </a:extLst>
          </p:cNvPr>
          <p:cNvSpPr txBox="1"/>
          <p:nvPr/>
        </p:nvSpPr>
        <p:spPr>
          <a:xfrm>
            <a:off x="6663711" y="3586805"/>
            <a:ext cx="4957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rgbClr val="F0F0F0"/>
                </a:solidFill>
              </a:rPr>
              <a:t>CCAFS SLC-40 and CCAFS LC-40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F38EB93-4343-4D23-962B-7E16FEFDB7D0}"/>
              </a:ext>
            </a:extLst>
          </p:cNvPr>
          <p:cNvSpPr txBox="1"/>
          <p:nvPr/>
        </p:nvSpPr>
        <p:spPr>
          <a:xfrm>
            <a:off x="3682611" y="4217798"/>
            <a:ext cx="14202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rgbClr val="F0F0F0"/>
                </a:solidFill>
              </a:rPr>
              <a:t>KSC LC-39A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7C6D80A-8CB8-43E7-919A-881ECCFB1F0F}"/>
              </a:ext>
            </a:extLst>
          </p:cNvPr>
          <p:cNvSpPr txBox="1"/>
          <p:nvPr/>
        </p:nvSpPr>
        <p:spPr>
          <a:xfrm>
            <a:off x="529276" y="4012456"/>
            <a:ext cx="17326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rgbClr val="F0F0F0"/>
                </a:solidFill>
              </a:rPr>
              <a:t>VAFB SLC-4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7D987B-6FB0-3737-B883-A77EA35E8BE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94140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188640"/>
            <a:ext cx="10027178" cy="1320800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PROXIMITY OF LAUNCH SITES TO OTHER POINTS OF INTEREST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04112" y="1196752"/>
            <a:ext cx="4690634" cy="2376264"/>
          </a:xfrm>
        </p:spPr>
        <p:txBody>
          <a:bodyPr>
            <a:normAutofit lnSpcReduction="10000"/>
          </a:bodyPr>
          <a:lstStyle/>
          <a:p>
            <a:r>
              <a:rPr lang="en-GB" sz="1200" dirty="0">
                <a:solidFill>
                  <a:srgbClr val="F0F0F0"/>
                </a:solidFill>
              </a:rPr>
              <a:t>Are launch sites in close proximity to railways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accent2"/>
                </a:solidFill>
              </a:rPr>
              <a:t>YES.</a:t>
            </a:r>
            <a:r>
              <a:rPr lang="en-GB" sz="1200" dirty="0"/>
              <a:t> </a:t>
            </a:r>
            <a:r>
              <a:rPr lang="en-GB" sz="1200" dirty="0">
                <a:solidFill>
                  <a:srgbClr val="F0F0F0"/>
                </a:solidFill>
              </a:rPr>
              <a:t>The coastline is only 0.87 km due East.</a:t>
            </a:r>
          </a:p>
          <a:p>
            <a:r>
              <a:rPr lang="en-GB" sz="1200" b="0" dirty="0">
                <a:solidFill>
                  <a:srgbClr val="F0F0F0"/>
                </a:solidFill>
                <a:effectLst/>
              </a:rPr>
              <a:t>Are launch sites in close proximity to highways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b="0" dirty="0">
                <a:solidFill>
                  <a:schemeClr val="accent2"/>
                </a:solidFill>
                <a:effectLst/>
              </a:rPr>
              <a:t>YES. </a:t>
            </a:r>
            <a:r>
              <a:rPr lang="en-GB" sz="1200" dirty="0">
                <a:solidFill>
                  <a:srgbClr val="F0F0F0"/>
                </a:solidFill>
              </a:rPr>
              <a:t>The nearest highway is only 0.59km away</a:t>
            </a:r>
            <a:r>
              <a:rPr lang="en-GB" sz="1200" dirty="0"/>
              <a:t>. </a:t>
            </a:r>
          </a:p>
          <a:p>
            <a:r>
              <a:rPr lang="en-GB" sz="1200" b="0" dirty="0">
                <a:solidFill>
                  <a:srgbClr val="F0F0F0"/>
                </a:solidFill>
                <a:effectLst/>
              </a:rPr>
              <a:t>Are launch sites in close proximity to railway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b="0" dirty="0">
                <a:solidFill>
                  <a:schemeClr val="accent2"/>
                </a:solidFill>
                <a:effectLst/>
              </a:rPr>
              <a:t>YES. </a:t>
            </a:r>
            <a:r>
              <a:rPr lang="en-GB" sz="1200" dirty="0">
                <a:solidFill>
                  <a:srgbClr val="F0F0F0"/>
                </a:solidFill>
              </a:rPr>
              <a:t>The nearest railway is only 1.29 km away.</a:t>
            </a:r>
          </a:p>
          <a:p>
            <a:r>
              <a:rPr lang="en-GB" sz="1200" b="0" dirty="0">
                <a:solidFill>
                  <a:srgbClr val="F0F0F0"/>
                </a:solidFill>
                <a:effectLst/>
              </a:rPr>
              <a:t>Do launch sites keep certain distance away from cities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b="0" dirty="0">
                <a:solidFill>
                  <a:schemeClr val="accent2"/>
                </a:solidFill>
                <a:effectLst/>
              </a:rPr>
              <a:t>YES. </a:t>
            </a:r>
            <a:r>
              <a:rPr lang="en-GB" sz="1200" dirty="0">
                <a:solidFill>
                  <a:srgbClr val="F0F0F0"/>
                </a:solidFill>
              </a:rPr>
              <a:t>The nearest city is 51.74 km away.</a:t>
            </a:r>
          </a:p>
          <a:p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FAA4731-007A-47A7-94F7-484E3894C6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7254" y="3801981"/>
            <a:ext cx="6996158" cy="286737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ED85067-8CA6-4F75-9A4E-74946631A5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68208" y="3801981"/>
            <a:ext cx="3826538" cy="286737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4E53BE-7195-40F2-8D36-E846610563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25740" y="1171348"/>
            <a:ext cx="2734479" cy="187225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0ABECE6-E742-4972-B0B5-12B361F46DE6}"/>
              </a:ext>
            </a:extLst>
          </p:cNvPr>
          <p:cNvSpPr txBox="1"/>
          <p:nvPr/>
        </p:nvSpPr>
        <p:spPr>
          <a:xfrm>
            <a:off x="322849" y="1626347"/>
            <a:ext cx="392361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rgbClr val="F0F0F0"/>
                </a:solidFill>
              </a:rPr>
              <a:t>Using the </a:t>
            </a:r>
            <a:r>
              <a:rPr lang="en-GB" sz="1600" dirty="0">
                <a:solidFill>
                  <a:schemeClr val="accent2"/>
                </a:solidFill>
              </a:rPr>
              <a:t>CCAFS SLC-40 </a:t>
            </a:r>
            <a:r>
              <a:rPr lang="en-GB" sz="1600" dirty="0">
                <a:solidFill>
                  <a:srgbClr val="F0F0F0"/>
                </a:solidFill>
              </a:rPr>
              <a:t>launch site as an example site, we can understand more about the placement of launch sites.</a:t>
            </a:r>
          </a:p>
        </p:txBody>
      </p:sp>
    </p:spTree>
    <p:extLst>
      <p:ext uri="{BB962C8B-B14F-4D97-AF65-F5344CB8AC3E}">
        <p14:creationId xmlns:p14="http://schemas.microsoft.com/office/powerpoint/2010/main" val="156131216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92840"/>
            <a:ext cx="11386134" cy="2077492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INTERACTIVE DASHBOARD</a:t>
            </a:r>
            <a:r>
              <a:rPr lang="en-GB" dirty="0"/>
              <a:t>- </a:t>
            </a:r>
            <a:r>
              <a:rPr lang="en-GB" dirty="0">
                <a:solidFill>
                  <a:schemeClr val="accent2"/>
                </a:solidFill>
              </a:rPr>
              <a:t>PLOTLY DASH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31258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A0F202F-B05D-4A96-A811-E17C7C676D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159" y="1468734"/>
            <a:ext cx="7977600" cy="459516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launch success count for all sites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16280" y="1447800"/>
            <a:ext cx="3194720" cy="4616097"/>
          </a:xfrm>
        </p:spPr>
        <p:txBody>
          <a:bodyPr anchor="ctr"/>
          <a:lstStyle/>
          <a:p>
            <a:r>
              <a:rPr lang="en-GB" dirty="0">
                <a:solidFill>
                  <a:srgbClr val="F0F0F0"/>
                </a:solidFill>
              </a:rPr>
              <a:t>The launch site </a:t>
            </a:r>
            <a:r>
              <a:rPr lang="en-GB" dirty="0">
                <a:solidFill>
                  <a:srgbClr val="61AFEF"/>
                </a:solidFill>
              </a:rPr>
              <a:t>KSC LC-39 A</a:t>
            </a:r>
            <a:r>
              <a:rPr lang="en-GB" dirty="0"/>
              <a:t> </a:t>
            </a:r>
            <a:r>
              <a:rPr lang="en-GB" dirty="0">
                <a:solidFill>
                  <a:srgbClr val="F0F0F0"/>
                </a:solidFill>
              </a:rPr>
              <a:t>had the most successful launches, with 41.7% of the total successful launche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7B542A1-2355-7DAF-EB61-AA2A25973D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78643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2">
            <a:extLst>
              <a:ext uri="{FF2B5EF4-FFF2-40B4-BE49-F238E27FC236}">
                <a16:creationId xmlns:a16="http://schemas.microsoft.com/office/drawing/2014/main" id="{13EE817D-A4E8-48C0-A58E-2B4150E271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6702159" cy="6858000"/>
          </a:xfrm>
          <a:custGeom>
            <a:avLst/>
            <a:gdLst/>
            <a:ahLst/>
            <a:cxnLst/>
            <a:rect l="l" t="t" r="r" b="b"/>
            <a:pathLst>
              <a:path w="5969000" h="11308715">
                <a:moveTo>
                  <a:pt x="5968404" y="0"/>
                </a:moveTo>
                <a:lnTo>
                  <a:pt x="0" y="0"/>
                </a:lnTo>
                <a:lnTo>
                  <a:pt x="0" y="11308556"/>
                </a:lnTo>
                <a:lnTo>
                  <a:pt x="5968404" y="11308556"/>
                </a:lnTo>
                <a:lnTo>
                  <a:pt x="5968404" y="0"/>
                </a:lnTo>
                <a:close/>
              </a:path>
            </a:pathLst>
          </a:custGeom>
          <a:solidFill>
            <a:srgbClr val="27293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04BABCD-5D07-421C-B8F7-FD9A7A6607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388188"/>
            <a:ext cx="5979219" cy="716711"/>
          </a:xfrm>
        </p:spPr>
        <p:txBody>
          <a:bodyPr/>
          <a:lstStyle/>
          <a:p>
            <a:r>
              <a:rPr lang="en-US" dirty="0"/>
              <a:t>METHODOLOGY SUMMARY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B1F1B55C-742A-4DEB-9AC0-DEF9057B1345}"/>
              </a:ext>
            </a:extLst>
          </p:cNvPr>
          <p:cNvSpPr txBox="1">
            <a:spLocks/>
          </p:cNvSpPr>
          <p:nvPr/>
        </p:nvSpPr>
        <p:spPr>
          <a:xfrm>
            <a:off x="437356" y="770747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chemeClr val="bg1"/>
                </a:solidFill>
              </a:rPr>
              <a:t>INTRODUCT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6828EB0-D704-4688-BB75-6EA2EB5827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2159" y="0"/>
            <a:ext cx="5489841" cy="6858000"/>
          </a:xfrm>
          <a:prstGeom prst="rect">
            <a:avLst/>
          </a:prstGeom>
        </p:spPr>
      </p:pic>
      <p:graphicFrame>
        <p:nvGraphicFramePr>
          <p:cNvPr id="25" name="TextBox 2">
            <a:extLst>
              <a:ext uri="{FF2B5EF4-FFF2-40B4-BE49-F238E27FC236}">
                <a16:creationId xmlns:a16="http://schemas.microsoft.com/office/drawing/2014/main" id="{696AB151-0A0C-B0C2-A05A-BABBAD138608}"/>
              </a:ext>
            </a:extLst>
          </p:cNvPr>
          <p:cNvGraphicFramePr/>
          <p:nvPr/>
        </p:nvGraphicFramePr>
        <p:xfrm>
          <a:off x="437357" y="1772815"/>
          <a:ext cx="5802660" cy="42473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76336556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133703"/>
            <a:ext cx="8596668" cy="1320800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Pie chart for the launch site with highest launch success ratio</a:t>
            </a:r>
            <a:endParaRPr lang="en-US" dirty="0">
              <a:solidFill>
                <a:srgbClr val="61AFEF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30FB0D1-5109-4692-9BF6-206A16AE9F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856" y="1468734"/>
            <a:ext cx="7975927" cy="4696569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B143B56-FB78-4699-ABB1-4666430E505E}"/>
                  </a:ext>
                </a:extLst>
              </p:cNvPr>
              <p:cNvSpPr txBox="1"/>
              <p:nvPr/>
            </p:nvSpPr>
            <p:spPr>
              <a:xfrm>
                <a:off x="10560496" y="6465888"/>
                <a:ext cx="1221616" cy="36689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800" b="0" dirty="0">
                    <a:solidFill>
                      <a:schemeClr val="bg1"/>
                    </a:solidFill>
                  </a:rPr>
                  <a:t>Note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GB" sz="800" b="0" i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c</m:t>
                    </m:r>
                    <m:r>
                      <a:rPr lang="en-GB" sz="8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𝑙𝑎𝑠𝑠</m:t>
                    </m:r>
                    <m:d>
                      <m:dPr>
                        <m:begChr m:val="{"/>
                        <m:endChr m:val=""/>
                        <m:ctrlPr>
                          <a:rPr lang="en-GB" sz="8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GB" sz="80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0, </m:t>
                            </m:r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𝐹𝑎𝑖𝑙𝑢𝑟𝑒</m:t>
                            </m:r>
                          </m:e>
                          <m:e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1, </m:t>
                            </m:r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𝑆𝑢𝑐𝑐𝑒𝑠𝑠</m:t>
                            </m:r>
                          </m:e>
                        </m:eqArr>
                      </m:e>
                    </m:d>
                  </m:oMath>
                </a14:m>
                <a:endParaRPr lang="en-GB" sz="8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B143B56-FB78-4699-ABB1-4666430E50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60496" y="6465888"/>
                <a:ext cx="1221616" cy="366895"/>
              </a:xfrm>
              <a:prstGeom prst="rect">
                <a:avLst/>
              </a:prstGeom>
              <a:blipFill>
                <a:blip r:embed="rId4"/>
                <a:stretch>
                  <a:fillRect t="-163333" r="-9950" b="-240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9AF9B85-3EFD-4AFE-94A4-8829DDD539C9}"/>
              </a:ext>
            </a:extLst>
          </p:cNvPr>
          <p:cNvSpPr txBox="1">
            <a:spLocks/>
          </p:cNvSpPr>
          <p:nvPr/>
        </p:nvSpPr>
        <p:spPr>
          <a:xfrm>
            <a:off x="8616280" y="1447800"/>
            <a:ext cx="3194720" cy="461609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The launch site </a:t>
            </a:r>
            <a:r>
              <a:rPr lang="en-GB" dirty="0">
                <a:solidFill>
                  <a:schemeClr val="accent2"/>
                </a:solidFill>
              </a:rPr>
              <a:t>KSC LC-39 A</a:t>
            </a:r>
            <a:r>
              <a:rPr lang="en-GB" dirty="0"/>
              <a:t> also had the highest rate of successful launches, with a 76.9% success rate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1CA9A56-67EF-E57A-28B7-F64449EEAF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072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AFE237DE-5068-439B-92F2-BC59C3C5081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11"/>
          <a:stretch/>
        </p:blipFill>
        <p:spPr>
          <a:xfrm>
            <a:off x="7365138" y="1129958"/>
            <a:ext cx="4562403" cy="248729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705F7CE-B552-4534-9640-58C6EBC2068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3555"/>
          <a:stretch/>
        </p:blipFill>
        <p:spPr>
          <a:xfrm>
            <a:off x="7396716" y="3895276"/>
            <a:ext cx="4553025" cy="248729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459" y="25217"/>
            <a:ext cx="10944101" cy="1114263"/>
          </a:xfrm>
        </p:spPr>
        <p:txBody>
          <a:bodyPr>
            <a:normAutofit fontScale="90000"/>
          </a:bodyPr>
          <a:lstStyle/>
          <a:p>
            <a:r>
              <a:rPr lang="en-GB" dirty="0">
                <a:solidFill>
                  <a:srgbClr val="61AFEF"/>
                </a:solidFill>
              </a:rPr>
              <a:t>Launch Outcome VS. Payload scatter plot for all sites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4" y="4367259"/>
            <a:ext cx="5968594" cy="2031954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Plotting the launch outcome vs. payload for all sites shows a gap around 4000 kg, so it makes sense to split the data into 2 ranges: 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0 – 4000 kg (low payloads)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4000 – 10000 kg (massive payload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From these 2 plots, it can be shown that </a:t>
            </a:r>
            <a:r>
              <a:rPr lang="en-GB" sz="1400" dirty="0">
                <a:solidFill>
                  <a:schemeClr val="accent2"/>
                </a:solidFill>
              </a:rPr>
              <a:t>the success for massive payloads is lower than that for low payload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It is also worth noting that some booster types (v1.0 and B5) have not been launched with massive payload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E02CF46-87EC-400B-B74C-E977A6801D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5438" y="1139480"/>
            <a:ext cx="5968594" cy="311351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5848518-4DB7-4DAD-B600-4D01734CCAF1}"/>
              </a:ext>
            </a:extLst>
          </p:cNvPr>
          <p:cNvCxnSpPr>
            <a:cxnSpLocks/>
          </p:cNvCxnSpPr>
          <p:nvPr/>
        </p:nvCxnSpPr>
        <p:spPr>
          <a:xfrm flipV="1">
            <a:off x="3317356" y="2146072"/>
            <a:ext cx="0" cy="1927147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BF897C79-8842-4030-B024-07ED06BBDBE1}"/>
              </a:ext>
            </a:extLst>
          </p:cNvPr>
          <p:cNvSpPr/>
          <p:nvPr/>
        </p:nvSpPr>
        <p:spPr>
          <a:xfrm>
            <a:off x="1498304" y="2901405"/>
            <a:ext cx="314639" cy="31463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6586139-AE5C-472D-A07E-F0EAE9BE67BE}"/>
              </a:ext>
            </a:extLst>
          </p:cNvPr>
          <p:cNvSpPr/>
          <p:nvPr/>
        </p:nvSpPr>
        <p:spPr>
          <a:xfrm>
            <a:off x="3477859" y="2898893"/>
            <a:ext cx="314639" cy="31463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692F50B-038A-41B2-86BA-90EAF2CD9EEA}"/>
              </a:ext>
            </a:extLst>
          </p:cNvPr>
          <p:cNvSpPr/>
          <p:nvPr/>
        </p:nvSpPr>
        <p:spPr>
          <a:xfrm>
            <a:off x="7221138" y="985958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D3B9AA0-D0D2-43E3-86A3-76CEFB47747A}"/>
              </a:ext>
            </a:extLst>
          </p:cNvPr>
          <p:cNvSpPr/>
          <p:nvPr/>
        </p:nvSpPr>
        <p:spPr>
          <a:xfrm>
            <a:off x="7252716" y="3751276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7FC7FF4-3442-4BB5-BF1C-9D892092DB5A}"/>
              </a:ext>
            </a:extLst>
          </p:cNvPr>
          <p:cNvSpPr txBox="1"/>
          <p:nvPr/>
        </p:nvSpPr>
        <p:spPr>
          <a:xfrm>
            <a:off x="1803749" y="2925918"/>
            <a:ext cx="105189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Low payload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439B27C-493F-44E9-A644-15B842A0F7A6}"/>
              </a:ext>
            </a:extLst>
          </p:cNvPr>
          <p:cNvSpPr txBox="1"/>
          <p:nvPr/>
        </p:nvSpPr>
        <p:spPr>
          <a:xfrm>
            <a:off x="3791744" y="2924488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Massive payload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4E4FEF0D-9D63-4C02-B634-5BD8355AA49F}"/>
                  </a:ext>
                </a:extLst>
              </p:cNvPr>
              <p:cNvSpPr txBox="1"/>
              <p:nvPr/>
            </p:nvSpPr>
            <p:spPr>
              <a:xfrm>
                <a:off x="10560496" y="6465888"/>
                <a:ext cx="1224822" cy="3668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800" b="0" dirty="0">
                    <a:solidFill>
                      <a:srgbClr val="F0F0F0"/>
                    </a:solidFill>
                  </a:rPr>
                  <a:t>Note: c</a:t>
                </a:r>
                <a14:m>
                  <m:oMath xmlns:m="http://schemas.openxmlformats.org/officeDocument/2006/math">
                    <m:r>
                      <a:rPr lang="en-GB" sz="800" b="0" i="1" smtClean="0">
                        <a:solidFill>
                          <a:srgbClr val="F0F0F0"/>
                        </a:solidFill>
                        <a:latin typeface="Cambria Math" panose="02040503050406030204" pitchFamily="18" charset="0"/>
                      </a:rPr>
                      <m:t>𝑙𝑎𝑠𝑠</m:t>
                    </m:r>
                    <m:d>
                      <m:dPr>
                        <m:begChr m:val="{"/>
                        <m:endChr m:val=""/>
                        <m:ctrlPr>
                          <a:rPr lang="en-GB" sz="800" i="1" smtClean="0">
                            <a:solidFill>
                              <a:srgbClr val="F0F0F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GB" sz="800" i="1" smtClean="0">
                                <a:solidFill>
                                  <a:srgbClr val="F0F0F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GB" sz="800" b="0" i="1" smtClean="0">
                                <a:solidFill>
                                  <a:srgbClr val="F0F0F0"/>
                                </a:solidFill>
                                <a:latin typeface="Cambria Math" panose="02040503050406030204" pitchFamily="18" charset="0"/>
                              </a:rPr>
                              <m:t>0, </m:t>
                            </m:r>
                            <m:r>
                              <a:rPr lang="en-GB" sz="800" b="0" i="1" smtClean="0">
                                <a:solidFill>
                                  <a:srgbClr val="F0F0F0"/>
                                </a:solidFill>
                                <a:latin typeface="Cambria Math" panose="02040503050406030204" pitchFamily="18" charset="0"/>
                              </a:rPr>
                              <m:t>𝐹𝑎𝑖𝑙𝑢𝑟𝑒</m:t>
                            </m:r>
                          </m:e>
                          <m:e>
                            <m:r>
                              <a:rPr lang="en-GB" sz="800" b="0" i="1" smtClean="0">
                                <a:solidFill>
                                  <a:srgbClr val="F0F0F0"/>
                                </a:solidFill>
                                <a:latin typeface="Cambria Math" panose="02040503050406030204" pitchFamily="18" charset="0"/>
                              </a:rPr>
                              <m:t>1, </m:t>
                            </m:r>
                            <m:r>
                              <a:rPr lang="en-GB" sz="800" b="0" i="1" smtClean="0">
                                <a:solidFill>
                                  <a:srgbClr val="F0F0F0"/>
                                </a:solidFill>
                                <a:latin typeface="Cambria Math" panose="02040503050406030204" pitchFamily="18" charset="0"/>
                              </a:rPr>
                              <m:t>𝑆𝑢𝑐𝑐𝑒𝑠𝑠</m:t>
                            </m:r>
                          </m:e>
                        </m:eqArr>
                      </m:e>
                    </m:d>
                  </m:oMath>
                </a14:m>
                <a:endParaRPr lang="en-GB" sz="800" dirty="0">
                  <a:solidFill>
                    <a:schemeClr val="bg1"/>
                  </a:solidFill>
                </a:endParaRPr>
              </a:p>
            </p:txBody>
          </p:sp>
        </mc:Choice>
        <mc:Fallback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4E4FEF0D-9D63-4C02-B634-5BD8355AA4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60496" y="6465888"/>
                <a:ext cx="1224822" cy="366895"/>
              </a:xfrm>
              <a:prstGeom prst="rect">
                <a:avLst/>
              </a:prstGeom>
              <a:blipFill>
                <a:blip r:embed="rId5"/>
                <a:stretch>
                  <a:fillRect t="-163333" r="-9950" b="-240000"/>
                </a:stretch>
              </a:blipFill>
            </p:spPr>
            <p:txBody>
              <a:bodyPr/>
              <a:lstStyle/>
              <a:p>
                <a:r>
                  <a:rPr lang="en-CA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Picture 3">
            <a:extLst>
              <a:ext uri="{FF2B5EF4-FFF2-40B4-BE49-F238E27FC236}">
                <a16:creationId xmlns:a16="http://schemas.microsoft.com/office/drawing/2014/main" id="{2B883117-38BA-BB5F-E5AD-EA8EA32C03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99238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92840"/>
            <a:ext cx="11386134" cy="2077492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PREDICTIVE ANALYSIS </a:t>
            </a:r>
            <a:r>
              <a:rPr lang="en-GB" dirty="0"/>
              <a:t>- </a:t>
            </a:r>
            <a:r>
              <a:rPr lang="en-GB" dirty="0">
                <a:solidFill>
                  <a:schemeClr val="accent2"/>
                </a:solidFill>
              </a:rPr>
              <a:t>CLASSIFICATION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65136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CLASSIFICATION ACCURACY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5619179" cy="4951413"/>
          </a:xfrm>
        </p:spPr>
        <p:txBody>
          <a:bodyPr/>
          <a:lstStyle/>
          <a:p>
            <a:r>
              <a:rPr lang="en-GB" dirty="0">
                <a:solidFill>
                  <a:srgbClr val="F0F0F0"/>
                </a:solidFill>
              </a:rPr>
              <a:t>Plotting the Accuracy Score and Best Score for each classification algorithm produces the following result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The</a:t>
            </a:r>
            <a:r>
              <a:rPr lang="en-GB" dirty="0"/>
              <a:t> </a:t>
            </a:r>
            <a:r>
              <a:rPr lang="en-GB" dirty="0">
                <a:solidFill>
                  <a:schemeClr val="accent2"/>
                </a:solidFill>
              </a:rPr>
              <a:t>Decision Tree</a:t>
            </a:r>
            <a:r>
              <a:rPr lang="en-GB" dirty="0">
                <a:solidFill>
                  <a:srgbClr val="F0F0F0"/>
                </a:solidFill>
              </a:rPr>
              <a:t> model has the highest classification accuracy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The Accuracy Score is 94.44%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The Best Score is 90.36%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9D02367-7FCC-49B8-B6BB-E790CF50A9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2681" y="4077072"/>
            <a:ext cx="4020111" cy="139084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3" name="Picture 12" descr="Chart, bar chart&#10;&#10;Description automatically generated">
            <a:extLst>
              <a:ext uri="{FF2B5EF4-FFF2-40B4-BE49-F238E27FC236}">
                <a16:creationId xmlns:a16="http://schemas.microsoft.com/office/drawing/2014/main" id="{362C84B8-9330-40BA-81B8-2112EABB7F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3761250"/>
            <a:ext cx="5155287" cy="2791965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5" name="Picture 14" descr="Chart, bar chart&#10;&#10;Description automatically generated">
            <a:extLst>
              <a:ext uri="{FF2B5EF4-FFF2-40B4-BE49-F238E27FC236}">
                <a16:creationId xmlns:a16="http://schemas.microsoft.com/office/drawing/2014/main" id="{95696640-61FB-433D-8A2E-2CA0971538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815284"/>
            <a:ext cx="5155286" cy="279196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26FA39A-528D-41D0-8D0A-18742C6A4A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71960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Confusion Matri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28048" y="1447800"/>
            <a:ext cx="5282952" cy="495141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As shown previously, best performing classification model is the </a:t>
            </a:r>
            <a:r>
              <a:rPr lang="en-GB" dirty="0">
                <a:solidFill>
                  <a:schemeClr val="accent2"/>
                </a:solidFill>
              </a:rPr>
              <a:t>Decision Tree </a:t>
            </a:r>
            <a:r>
              <a:rPr lang="en-GB" dirty="0">
                <a:solidFill>
                  <a:srgbClr val="F0F0F0"/>
                </a:solidFill>
              </a:rPr>
              <a:t>model, with an accuracy of 94.44%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This is explained by the confusion matrix, which shows only 1 out of 18 total results classified incorrectly (a false positive, shown in the top-right corner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0F0F0"/>
                </a:solidFill>
              </a:rPr>
              <a:t>The other 17 results are correctly classified (5 did not land, 12 did land).</a:t>
            </a:r>
          </a:p>
        </p:txBody>
      </p:sp>
      <p:pic>
        <p:nvPicPr>
          <p:cNvPr id="11" name="Picture 10" descr="Chart&#10;&#10;Description automatically generated with medium confidence">
            <a:extLst>
              <a:ext uri="{FF2B5EF4-FFF2-40B4-BE49-F238E27FC236}">
                <a16:creationId xmlns:a16="http://schemas.microsoft.com/office/drawing/2014/main" id="{38452BA8-55EA-471E-B267-F26925DD09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2" y="1504662"/>
            <a:ext cx="5835204" cy="446033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E87113E-C66F-4778-5206-24BFFC1E8C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43329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875003"/>
            <a:ext cx="11386134" cy="1061829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CONCLUSIONS</a:t>
            </a:r>
            <a:endParaRPr lang="en-US" dirty="0">
              <a:solidFill>
                <a:srgbClr val="61AF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15879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CONCLUS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1987" y="1340768"/>
            <a:ext cx="8169068" cy="5058445"/>
          </a:xfrm>
        </p:spPr>
        <p:txBody>
          <a:bodyPr>
            <a:normAutofit fontScale="92500" lnSpcReduction="20000"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As the number of flights increases, the rate of success at a launch site increases, with most early flights being unsuccessful. I.e. with more experience, the success rate increases.</a:t>
            </a:r>
          </a:p>
          <a:p>
            <a:pPr marL="349250" lvl="1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Between 2010 and 2013, all landings were unsuccessful (as the success rate is 0).</a:t>
            </a:r>
          </a:p>
          <a:p>
            <a:pPr marL="349250" lvl="1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0F0F0"/>
                </a:solidFill>
              </a:rPr>
              <a:t>After 2013, the success rate generally increased, despite small dips in </a:t>
            </a:r>
            <a:r>
              <a:rPr lang="en-GB" sz="1050" dirty="0">
                <a:solidFill>
                  <a:srgbClr val="F0F0F0"/>
                </a:solidFill>
              </a:rPr>
              <a:t>2018 and 2020.</a:t>
            </a:r>
          </a:p>
          <a:p>
            <a:pPr marL="349250" lvl="1" indent="-171450">
              <a:buFont typeface="Arial" panose="020B0604020202020204" pitchFamily="34" charset="0"/>
              <a:buChar char="•"/>
            </a:pPr>
            <a:r>
              <a:rPr lang="en-GB" sz="1050" dirty="0">
                <a:solidFill>
                  <a:srgbClr val="F0F0F0"/>
                </a:solidFill>
              </a:rPr>
              <a:t>After 2016, there was always a greater than 50% chance of success.</a:t>
            </a:r>
          </a:p>
          <a:p>
            <a:pPr marL="349250" lvl="1" indent="-171450">
              <a:buFont typeface="Arial" panose="020B0604020202020204" pitchFamily="34" charset="0"/>
              <a:buChar char="•"/>
            </a:pPr>
            <a:endParaRPr lang="en-GB" sz="105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Orbit types ES-L1, GEO, HEO, and SSO, have the highest (100%) success rate.</a:t>
            </a:r>
          </a:p>
          <a:p>
            <a:pPr lvl="2"/>
            <a:r>
              <a:rPr lang="en-GB" sz="1200" dirty="0">
                <a:solidFill>
                  <a:srgbClr val="F0F0F0"/>
                </a:solidFill>
              </a:rPr>
              <a:t>The 100% success rate of GEO, HEO, and ES-L1 orbits can be explained by only having 1 flight into the respective orbits. </a:t>
            </a:r>
          </a:p>
          <a:p>
            <a:pPr lvl="2"/>
            <a:r>
              <a:rPr lang="en-GB" sz="1200" dirty="0">
                <a:solidFill>
                  <a:srgbClr val="F0F0F0"/>
                </a:solidFill>
              </a:rPr>
              <a:t>The 100% success rate in SSO is more impressive, with 5 successful flights.</a:t>
            </a:r>
          </a:p>
          <a:p>
            <a:pPr lvl="2"/>
            <a:r>
              <a:rPr lang="en-GB" sz="1200" dirty="0">
                <a:solidFill>
                  <a:srgbClr val="F0F0F0"/>
                </a:solidFill>
              </a:rPr>
              <a:t>The orbit types PO, ISS, and LEO, have more success with heavy payloads:</a:t>
            </a:r>
          </a:p>
          <a:p>
            <a:pPr lvl="2"/>
            <a:r>
              <a:rPr lang="en-GB" sz="1200" dirty="0">
                <a:solidFill>
                  <a:srgbClr val="F0F0F0"/>
                </a:solidFill>
              </a:rPr>
              <a:t>VLEO (Very Low Earth Orbit) launches are associated with heavier payloads, which makes intuitive sense.</a:t>
            </a:r>
          </a:p>
          <a:p>
            <a:pPr lvl="1"/>
            <a:endParaRPr lang="en-GB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The launch site </a:t>
            </a:r>
            <a:r>
              <a:rPr lang="en-GB" sz="1400" dirty="0">
                <a:solidFill>
                  <a:schemeClr val="accent2"/>
                </a:solidFill>
              </a:rPr>
              <a:t>KSC LC-39 A</a:t>
            </a:r>
            <a:r>
              <a:rPr lang="en-GB" sz="1400" dirty="0"/>
              <a:t> </a:t>
            </a:r>
            <a:r>
              <a:rPr lang="en-GB" sz="1400" dirty="0">
                <a:solidFill>
                  <a:srgbClr val="F0F0F0"/>
                </a:solidFill>
              </a:rPr>
              <a:t>had the most successful launches, with 41.7% of the total successful launches, and also the highest rate of successful launches, with a 76.9% success rat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400" dirty="0">
              <a:solidFill>
                <a:srgbClr val="F0F0F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The success for massive payloads (over 4000kg) is lower than that for low payload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400" dirty="0">
              <a:solidFill>
                <a:srgbClr val="F0F0F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0F0F0"/>
                </a:solidFill>
              </a:rPr>
              <a:t>The best performing classification model is the Decision Tree model, with an accuracy of 94.44%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200" dirty="0"/>
          </a:p>
        </p:txBody>
      </p:sp>
      <p:pic>
        <p:nvPicPr>
          <p:cNvPr id="4" name="Picture 3" descr="Chart&#10;&#10;Description automatically generated with medium confidence">
            <a:extLst>
              <a:ext uri="{FF2B5EF4-FFF2-40B4-BE49-F238E27FC236}">
                <a16:creationId xmlns:a16="http://schemas.microsoft.com/office/drawing/2014/main" id="{87AB9C7E-9F36-442F-B2CA-867B86B957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8353" y="1460632"/>
            <a:ext cx="1450107" cy="98792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A564E096-29E5-4B66-AD8E-B2B2785A3592}"/>
              </a:ext>
            </a:extLst>
          </p:cNvPr>
          <p:cNvGrpSpPr/>
          <p:nvPr/>
        </p:nvGrpSpPr>
        <p:grpSpPr>
          <a:xfrm>
            <a:off x="8471054" y="2719305"/>
            <a:ext cx="3404705" cy="989978"/>
            <a:chOff x="8471054" y="2690634"/>
            <a:chExt cx="3404705" cy="989978"/>
          </a:xfrm>
        </p:grpSpPr>
        <p:pic>
          <p:nvPicPr>
            <p:cNvPr id="5" name="Picture 4" descr="Chart, bar chart&#10;&#10;Description automatically generated">
              <a:extLst>
                <a:ext uri="{FF2B5EF4-FFF2-40B4-BE49-F238E27FC236}">
                  <a16:creationId xmlns:a16="http://schemas.microsoft.com/office/drawing/2014/main" id="{255572AB-0488-4295-9F76-6644A535337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20474" y="2692690"/>
              <a:ext cx="1455285" cy="987922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183B84E-793F-46C7-B885-28AB2EE58DC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71054" y="2690634"/>
              <a:ext cx="1674085" cy="964286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7FCC9948-E1E4-4C33-AD1B-66E1EFB60E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49139" y="3980035"/>
            <a:ext cx="1848534" cy="964287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A279BAC3-BC82-4D04-A7E0-21C8A58695A6}"/>
              </a:ext>
            </a:extLst>
          </p:cNvPr>
          <p:cNvGrpSpPr/>
          <p:nvPr/>
        </p:nvGrpSpPr>
        <p:grpSpPr>
          <a:xfrm>
            <a:off x="8471054" y="5215074"/>
            <a:ext cx="3404705" cy="976998"/>
            <a:chOff x="8471054" y="5215074"/>
            <a:chExt cx="3404705" cy="976998"/>
          </a:xfrm>
        </p:grpSpPr>
        <p:pic>
          <p:nvPicPr>
            <p:cNvPr id="6" name="Picture 5" descr="Chart, bar chart&#10;&#10;Description automatically generated">
              <a:extLst>
                <a:ext uri="{FF2B5EF4-FFF2-40B4-BE49-F238E27FC236}">
                  <a16:creationId xmlns:a16="http://schemas.microsoft.com/office/drawing/2014/main" id="{85E3C5A5-C061-4F25-A747-A2583DD8CD7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71054" y="5227785"/>
              <a:ext cx="1780530" cy="964287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  <p:pic>
          <p:nvPicPr>
            <p:cNvPr id="9" name="Picture 8" descr="Chart&#10;&#10;Description automatically generated with medium confidence">
              <a:extLst>
                <a:ext uri="{FF2B5EF4-FFF2-40B4-BE49-F238E27FC236}">
                  <a16:creationId xmlns:a16="http://schemas.microsoft.com/office/drawing/2014/main" id="{E238F02F-1A57-4F59-82AD-DA2E7484839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26932" y="5215074"/>
              <a:ext cx="1248827" cy="954583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E3DB7215-F08B-1A0E-BD89-A629D95161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63222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875003"/>
            <a:ext cx="11386134" cy="1061829"/>
          </a:xfrm>
        </p:spPr>
        <p:txBody>
          <a:bodyPr/>
          <a:lstStyle/>
          <a:p>
            <a:r>
              <a:rPr lang="en-GB" dirty="0">
                <a:solidFill>
                  <a:srgbClr val="61AFEF"/>
                </a:solidFill>
              </a:rPr>
              <a:t>APPENDIX</a:t>
            </a:r>
            <a:endParaRPr lang="en-US" dirty="0">
              <a:solidFill>
                <a:srgbClr val="61AF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86365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10" y="130788"/>
            <a:ext cx="8596668" cy="1320800"/>
          </a:xfrm>
        </p:spPr>
        <p:txBody>
          <a:bodyPr/>
          <a:lstStyle/>
          <a:p>
            <a:r>
              <a:rPr lang="en-US" dirty="0">
                <a:solidFill>
                  <a:srgbClr val="61AFEF"/>
                </a:solidFill>
              </a:rPr>
              <a:t>DATA COLLECTION </a:t>
            </a:r>
            <a:r>
              <a:rPr lang="en-US" dirty="0"/>
              <a:t>– </a:t>
            </a:r>
            <a:r>
              <a:rPr lang="en-US" dirty="0">
                <a:solidFill>
                  <a:schemeClr val="accent2"/>
                </a:solidFill>
              </a:rPr>
              <a:t>space x REST api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21099A1-48BE-40EF-8C62-B563FE680D62}"/>
              </a:ext>
            </a:extLst>
          </p:cNvPr>
          <p:cNvSpPr txBox="1"/>
          <p:nvPr/>
        </p:nvSpPr>
        <p:spPr>
          <a:xfrm>
            <a:off x="124457" y="1967886"/>
            <a:ext cx="925430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Custom functions to retrieve the required 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Custom logic to clean the data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3B9C8A0-8640-47D3-B185-30DC876103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52184" y="404664"/>
            <a:ext cx="4176464" cy="3414799"/>
          </a:xfrm>
          <a:prstGeom prst="roundRect">
            <a:avLst>
              <a:gd name="adj" fmla="val 1708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325448A-C384-4DF2-B9BF-A96687A7C9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50221" y="4118251"/>
            <a:ext cx="4176464" cy="2414386"/>
          </a:xfrm>
          <a:prstGeom prst="roundRect">
            <a:avLst>
              <a:gd name="adj" fmla="val 2823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7E53016-BAA8-40A7-B983-27AD434402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7048" y="3068960"/>
            <a:ext cx="5806298" cy="201481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B2A5BC0-A6A7-AE02-0DB0-DE59F02EA0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88716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299243"/>
            <a:ext cx="8596668" cy="1320800"/>
          </a:xfrm>
        </p:spPr>
        <p:txBody>
          <a:bodyPr/>
          <a:lstStyle/>
          <a:p>
            <a:r>
              <a:rPr lang="en-US" dirty="0">
                <a:solidFill>
                  <a:srgbClr val="61AFEF"/>
                </a:solidFill>
              </a:rPr>
              <a:t>DATA COLLECTION </a:t>
            </a:r>
            <a:r>
              <a:rPr lang="en-US" dirty="0"/>
              <a:t>– </a:t>
            </a:r>
            <a:r>
              <a:rPr lang="en-US" dirty="0">
                <a:solidFill>
                  <a:schemeClr val="accent2"/>
                </a:solidFill>
              </a:rPr>
              <a:t>WEB SCRAPING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5F96D5-27AA-4B7D-BE40-8798D1CCEA6F}"/>
              </a:ext>
            </a:extLst>
          </p:cNvPr>
          <p:cNvSpPr txBox="1"/>
          <p:nvPr/>
        </p:nvSpPr>
        <p:spPr>
          <a:xfrm>
            <a:off x="154063" y="1106742"/>
            <a:ext cx="369818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0F0F0"/>
                </a:solidFill>
              </a:rPr>
              <a:t>Custom functions for web scraping</a:t>
            </a:r>
            <a:endParaRPr lang="en-US" sz="1600" dirty="0">
              <a:solidFill>
                <a:srgbClr val="F0F0F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0F0F0"/>
                </a:solidFill>
              </a:rPr>
              <a:t>Custom logic to fill up the launch_dict values with values from the launch tables</a:t>
            </a:r>
            <a:endParaRPr lang="en-GB" sz="1600" dirty="0">
              <a:solidFill>
                <a:srgbClr val="F0F0F0"/>
              </a:solidFill>
            </a:endParaRPr>
          </a:p>
        </p:txBody>
      </p: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F773C304-83A3-4986-BB7D-679AC41AE32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3" t="4850" r="39069" b="2751"/>
          <a:stretch/>
        </p:blipFill>
        <p:spPr>
          <a:xfrm>
            <a:off x="8339754" y="126707"/>
            <a:ext cx="3024336" cy="6336704"/>
          </a:xfrm>
          <a:prstGeom prst="roundRect">
            <a:avLst>
              <a:gd name="adj" fmla="val 819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F2AC72B9-BD42-4F36-881C-B985120BAC1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0" t="7070" r="29255" b="6330"/>
          <a:stretch/>
        </p:blipFill>
        <p:spPr>
          <a:xfrm>
            <a:off x="3814175" y="1412776"/>
            <a:ext cx="4226042" cy="5050635"/>
          </a:xfrm>
          <a:prstGeom prst="roundRect">
            <a:avLst>
              <a:gd name="adj" fmla="val 2206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10171D8-59C0-6902-35BE-63786533CA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3902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2">
            <a:extLst>
              <a:ext uri="{FF2B5EF4-FFF2-40B4-BE49-F238E27FC236}">
                <a16:creationId xmlns:a16="http://schemas.microsoft.com/office/drawing/2014/main" id="{13EE817D-A4E8-48C0-A58E-2B4150E271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6702159" cy="6858000"/>
          </a:xfrm>
          <a:custGeom>
            <a:avLst/>
            <a:gdLst/>
            <a:ahLst/>
            <a:cxnLst/>
            <a:rect l="l" t="t" r="r" b="b"/>
            <a:pathLst>
              <a:path w="5969000" h="11308715">
                <a:moveTo>
                  <a:pt x="5968404" y="0"/>
                </a:moveTo>
                <a:lnTo>
                  <a:pt x="0" y="0"/>
                </a:lnTo>
                <a:lnTo>
                  <a:pt x="0" y="11308556"/>
                </a:lnTo>
                <a:lnTo>
                  <a:pt x="5968404" y="11308556"/>
                </a:lnTo>
                <a:lnTo>
                  <a:pt x="5968404" y="0"/>
                </a:lnTo>
                <a:close/>
              </a:path>
            </a:pathLst>
          </a:custGeom>
          <a:solidFill>
            <a:srgbClr val="27293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04BABCD-5D07-421C-B8F7-FD9A7A660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B0F0"/>
                </a:solidFill>
              </a:rPr>
              <a:t>METHODOLOGY SUMMARY</a:t>
            </a:r>
          </a:p>
        </p:txBody>
      </p:sp>
      <p:graphicFrame>
        <p:nvGraphicFramePr>
          <p:cNvPr id="19" name="Text Placeholder 2">
            <a:extLst>
              <a:ext uri="{FF2B5EF4-FFF2-40B4-BE49-F238E27FC236}">
                <a16:creationId xmlns:a16="http://schemas.microsoft.com/office/drawing/2014/main" id="{4AE5496F-F33F-AC13-5D47-FC36CC26DFF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59210590"/>
              </p:ext>
            </p:extLst>
          </p:nvPr>
        </p:nvGraphicFramePr>
        <p:xfrm>
          <a:off x="404813" y="1447800"/>
          <a:ext cx="11406187" cy="49514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760816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4751"/>
            <a:ext cx="8596668" cy="1320800"/>
          </a:xfrm>
        </p:spPr>
        <p:txBody>
          <a:bodyPr/>
          <a:lstStyle/>
          <a:p>
            <a:r>
              <a:rPr lang="en-US" dirty="0">
                <a:solidFill>
                  <a:srgbClr val="61AFEF"/>
                </a:solidFill>
              </a:rPr>
              <a:t> DATA COLLECTION </a:t>
            </a:r>
            <a:r>
              <a:rPr lang="en-US" dirty="0"/>
              <a:t>– </a:t>
            </a:r>
            <a:r>
              <a:rPr lang="en-US" dirty="0">
                <a:solidFill>
                  <a:schemeClr val="accent2"/>
                </a:solidFill>
              </a:rPr>
              <a:t>SPACE X API</a:t>
            </a:r>
            <a:endParaRPr lang="en-US" dirty="0">
              <a:solidFill>
                <a:srgbClr val="61AFEF"/>
              </a:solidFill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2F0C2330-BF1D-4503-B900-3E52703BF8F7}"/>
              </a:ext>
            </a:extLst>
          </p:cNvPr>
          <p:cNvSpPr txBox="1"/>
          <p:nvPr/>
        </p:nvSpPr>
        <p:spPr>
          <a:xfrm>
            <a:off x="154062" y="1052736"/>
            <a:ext cx="646278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rgbClr val="F0F0F0"/>
                </a:solidFill>
              </a:rPr>
              <a:t>Using the SpaceX API to retrieve data about launches, including information about the rocket used, payload delivered, launch specifications, landing specifications, and landing outcome.</a:t>
            </a:r>
            <a:endParaRPr lang="en-US" sz="1600" dirty="0">
              <a:solidFill>
                <a:srgbClr val="F0F0F0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2EA4B77-B14B-4AED-97DA-838569B509F9}"/>
              </a:ext>
            </a:extLst>
          </p:cNvPr>
          <p:cNvGrpSpPr/>
          <p:nvPr/>
        </p:nvGrpSpPr>
        <p:grpSpPr>
          <a:xfrm>
            <a:off x="7021493" y="381857"/>
            <a:ext cx="4032448" cy="1230027"/>
            <a:chOff x="6816081" y="381857"/>
            <a:chExt cx="4032448" cy="123002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F7D9EF03-0D98-4A64-B0CA-E0D795AFB3A9}"/>
                </a:ext>
              </a:extLst>
            </p:cNvPr>
            <p:cNvGrpSpPr/>
            <p:nvPr/>
          </p:nvGrpSpPr>
          <p:grpSpPr>
            <a:xfrm>
              <a:off x="6881244" y="438326"/>
              <a:ext cx="3902122" cy="1117089"/>
              <a:chOff x="7376508" y="559419"/>
              <a:chExt cx="3408321" cy="975725"/>
            </a:xfrm>
            <a:solidFill>
              <a:srgbClr val="0070AD"/>
            </a:solidFill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0D94EE98-C8BA-4088-9399-E3A6F93524A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b="64023"/>
              <a:stretch/>
            </p:blipFill>
            <p:spPr>
              <a:xfrm>
                <a:off x="7679303" y="559419"/>
                <a:ext cx="2802730" cy="277293"/>
              </a:xfrm>
              <a:prstGeom prst="rect">
                <a:avLst/>
              </a:prstGeom>
              <a:grpFill/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49F80C29-BD4E-4670-AFF0-F59E306048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376508" y="1124744"/>
                <a:ext cx="3408321" cy="410400"/>
              </a:xfrm>
              <a:prstGeom prst="rect">
                <a:avLst/>
              </a:prstGeom>
              <a:grpFill/>
            </p:spPr>
          </p:pic>
          <p:pic>
            <p:nvPicPr>
              <p:cNvPr id="86" name="Picture 85">
                <a:extLst>
                  <a:ext uri="{FF2B5EF4-FFF2-40B4-BE49-F238E27FC236}">
                    <a16:creationId xmlns:a16="http://schemas.microsoft.com/office/drawing/2014/main" id="{D5E40F14-C243-45DC-A9AD-C3E089B083A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t="56831" b="11341"/>
              <a:stretch/>
            </p:blipFill>
            <p:spPr>
              <a:xfrm>
                <a:off x="7679303" y="814265"/>
                <a:ext cx="2802730" cy="245316"/>
              </a:xfrm>
              <a:prstGeom prst="rect">
                <a:avLst/>
              </a:prstGeom>
              <a:grpFill/>
            </p:spPr>
          </p:pic>
        </p:grpSp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7F77E3BE-FFD1-49D0-912B-FD6FB1D4A716}"/>
                </a:ext>
              </a:extLst>
            </p:cNvPr>
            <p:cNvSpPr/>
            <p:nvPr/>
          </p:nvSpPr>
          <p:spPr>
            <a:xfrm>
              <a:off x="6816081" y="381857"/>
              <a:ext cx="4032448" cy="1230027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68EC541-DE3E-4EBC-81B6-66449314609B}"/>
              </a:ext>
            </a:extLst>
          </p:cNvPr>
          <p:cNvGrpSpPr/>
          <p:nvPr/>
        </p:nvGrpSpPr>
        <p:grpSpPr>
          <a:xfrm>
            <a:off x="5930762" y="1823886"/>
            <a:ext cx="6213910" cy="2403187"/>
            <a:chOff x="5930762" y="1809537"/>
            <a:chExt cx="6213910" cy="2403187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E1813E3-CDF6-4256-8F01-D02553A05958}"/>
                </a:ext>
              </a:extLst>
            </p:cNvPr>
            <p:cNvGrpSpPr/>
            <p:nvPr/>
          </p:nvGrpSpPr>
          <p:grpSpPr>
            <a:xfrm>
              <a:off x="6013381" y="1810470"/>
              <a:ext cx="6048672" cy="2401320"/>
              <a:chOff x="5951984" y="2011224"/>
              <a:chExt cx="6048672" cy="2401320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277E6190-5DA5-4D5A-96BA-1CD9654DE5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951984" y="2054428"/>
                <a:ext cx="1421035" cy="2314912"/>
              </a:xfrm>
              <a:prstGeom prst="rect">
                <a:avLst/>
              </a:prstGeom>
            </p:spPr>
          </p:pic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687CE674-95E2-41B5-BCC7-71DE5D1AE7EA}"/>
                  </a:ext>
                </a:extLst>
              </p:cNvPr>
              <p:cNvGrpSpPr/>
              <p:nvPr/>
            </p:nvGrpSpPr>
            <p:grpSpPr>
              <a:xfrm>
                <a:off x="7423742" y="2011224"/>
                <a:ext cx="1552825" cy="2401320"/>
                <a:chOff x="4838973" y="2924944"/>
                <a:chExt cx="2581635" cy="3992293"/>
              </a:xfrm>
            </p:grpSpPr>
            <p:pic>
              <p:nvPicPr>
                <p:cNvPr id="16" name="Picture 15">
                  <a:extLst>
                    <a:ext uri="{FF2B5EF4-FFF2-40B4-BE49-F238E27FC236}">
                      <a16:creationId xmlns:a16="http://schemas.microsoft.com/office/drawing/2014/main" id="{C4F55A5F-87B2-4210-A9EC-0FE7EF6DDB8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r="3084"/>
                <a:stretch/>
              </p:blipFill>
              <p:spPr>
                <a:xfrm>
                  <a:off x="4844716" y="2924944"/>
                  <a:ext cx="2575892" cy="1066949"/>
                </a:xfrm>
                <a:prstGeom prst="rect">
                  <a:avLst/>
                </a:prstGeom>
              </p:spPr>
            </p:pic>
            <p:pic>
              <p:nvPicPr>
                <p:cNvPr id="14" name="Picture 13">
                  <a:extLst>
                    <a:ext uri="{FF2B5EF4-FFF2-40B4-BE49-F238E27FC236}">
                      <a16:creationId xmlns:a16="http://schemas.microsoft.com/office/drawing/2014/main" id="{8F30D176-1F26-4574-A3AE-DF6724CE75E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4838973" y="3945022"/>
                  <a:ext cx="2581635" cy="2972215"/>
                </a:xfrm>
                <a:prstGeom prst="rect">
                  <a:avLst/>
                </a:prstGeom>
              </p:spPr>
            </p:pic>
          </p:grp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DA39E6D6-5F71-4F33-B2F9-97EF92422C8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5932"/>
              <a:stretch/>
            </p:blipFill>
            <p:spPr>
              <a:xfrm>
                <a:off x="9027290" y="2077348"/>
                <a:ext cx="2973366" cy="2269072"/>
              </a:xfrm>
              <a:prstGeom prst="rect">
                <a:avLst/>
              </a:prstGeom>
            </p:spPr>
          </p:pic>
        </p:grpSp>
        <p:sp>
          <p:nvSpPr>
            <p:cNvPr id="93" name="Rectangle: Rounded Corners 92">
              <a:extLst>
                <a:ext uri="{FF2B5EF4-FFF2-40B4-BE49-F238E27FC236}">
                  <a16:creationId xmlns:a16="http://schemas.microsoft.com/office/drawing/2014/main" id="{5887B57B-681F-4AFC-A510-8BB5A325AEEC}"/>
                </a:ext>
              </a:extLst>
            </p:cNvPr>
            <p:cNvSpPr/>
            <p:nvPr/>
          </p:nvSpPr>
          <p:spPr>
            <a:xfrm>
              <a:off x="5930762" y="1809537"/>
              <a:ext cx="6213910" cy="2403187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98B6911-FF5D-43E7-9056-26CA6E55DD15}"/>
              </a:ext>
            </a:extLst>
          </p:cNvPr>
          <p:cNvGrpSpPr/>
          <p:nvPr/>
        </p:nvGrpSpPr>
        <p:grpSpPr>
          <a:xfrm>
            <a:off x="7809085" y="4439075"/>
            <a:ext cx="2457265" cy="504475"/>
            <a:chOff x="7798656" y="4467569"/>
            <a:chExt cx="2457265" cy="504475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B42FB22-101C-4599-82AD-6BFBBEB3B5E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846911" y="4484877"/>
              <a:ext cx="2360755" cy="469859"/>
            </a:xfrm>
            <a:prstGeom prst="rect">
              <a:avLst/>
            </a:prstGeom>
          </p:spPr>
        </p:pic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12364969-3AD7-48C4-8FC6-EC50B8447038}"/>
                </a:ext>
              </a:extLst>
            </p:cNvPr>
            <p:cNvSpPr/>
            <p:nvPr/>
          </p:nvSpPr>
          <p:spPr>
            <a:xfrm>
              <a:off x="7798656" y="4467569"/>
              <a:ext cx="2457265" cy="504475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82F9CF10-30F9-48AF-A7CC-7062B101402C}"/>
              </a:ext>
            </a:extLst>
          </p:cNvPr>
          <p:cNvGrpSpPr/>
          <p:nvPr/>
        </p:nvGrpSpPr>
        <p:grpSpPr>
          <a:xfrm>
            <a:off x="6320165" y="5155553"/>
            <a:ext cx="5435105" cy="1275400"/>
            <a:chOff x="6349527" y="5155553"/>
            <a:chExt cx="5435105" cy="1275400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712E12DA-CB43-4C1A-9866-8734870251A9}"/>
                </a:ext>
              </a:extLst>
            </p:cNvPr>
            <p:cNvGrpSpPr/>
            <p:nvPr/>
          </p:nvGrpSpPr>
          <p:grpSpPr>
            <a:xfrm>
              <a:off x="6428424" y="5227103"/>
              <a:ext cx="5277310" cy="1132300"/>
              <a:chOff x="6396969" y="5204407"/>
              <a:chExt cx="5277310" cy="1132300"/>
            </a:xfrm>
          </p:grpSpPr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D7A64E16-D0A2-4B21-AA7C-834EE7126A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583077" y="5204407"/>
                <a:ext cx="2905095" cy="320878"/>
              </a:xfrm>
              <a:prstGeom prst="rect">
                <a:avLst/>
              </a:prstGeom>
            </p:spPr>
          </p:pic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2951F1BE-38E1-436B-BBA3-872D5BB60A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969967" y="5578602"/>
                <a:ext cx="4131314" cy="229199"/>
              </a:xfrm>
              <a:prstGeom prst="rect">
                <a:avLst/>
              </a:prstGeom>
            </p:spPr>
          </p:pic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514F7056-FDCE-4BAB-B67C-3EA71DF9F7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396969" y="5861119"/>
                <a:ext cx="5277310" cy="475588"/>
              </a:xfrm>
              <a:prstGeom prst="rect">
                <a:avLst/>
              </a:prstGeom>
            </p:spPr>
          </p:pic>
        </p:grpSp>
        <p:sp>
          <p:nvSpPr>
            <p:cNvPr id="97" name="Rectangle: Rounded Corners 96">
              <a:extLst>
                <a:ext uri="{FF2B5EF4-FFF2-40B4-BE49-F238E27FC236}">
                  <a16:creationId xmlns:a16="http://schemas.microsoft.com/office/drawing/2014/main" id="{2A81A195-2676-44C4-896D-689E59A38CEC}"/>
                </a:ext>
              </a:extLst>
            </p:cNvPr>
            <p:cNvSpPr/>
            <p:nvPr/>
          </p:nvSpPr>
          <p:spPr>
            <a:xfrm>
              <a:off x="6349527" y="5155553"/>
              <a:ext cx="5435105" cy="1275400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sp>
        <p:nvSpPr>
          <p:cNvPr id="98" name="Oval 97">
            <a:extLst>
              <a:ext uri="{FF2B5EF4-FFF2-40B4-BE49-F238E27FC236}">
                <a16:creationId xmlns:a16="http://schemas.microsoft.com/office/drawing/2014/main" id="{E7156280-6B7B-4263-AB17-22F35BB5C7C3}"/>
              </a:ext>
            </a:extLst>
          </p:cNvPr>
          <p:cNvSpPr/>
          <p:nvPr/>
        </p:nvSpPr>
        <p:spPr>
          <a:xfrm>
            <a:off x="6877493" y="237857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1CC2D145-0795-41DD-8639-5A50A568CAFD}"/>
              </a:ext>
            </a:extLst>
          </p:cNvPr>
          <p:cNvSpPr/>
          <p:nvPr/>
        </p:nvSpPr>
        <p:spPr>
          <a:xfrm>
            <a:off x="7665085" y="4312383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AF5F8729-7120-4FC0-A214-0E201FF45A95}"/>
              </a:ext>
            </a:extLst>
          </p:cNvPr>
          <p:cNvSpPr/>
          <p:nvPr/>
        </p:nvSpPr>
        <p:spPr>
          <a:xfrm>
            <a:off x="5831480" y="1706146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64B7EFC1-B1A7-4EAA-A519-F90F8E046CAD}"/>
              </a:ext>
            </a:extLst>
          </p:cNvPr>
          <p:cNvSpPr/>
          <p:nvPr/>
        </p:nvSpPr>
        <p:spPr>
          <a:xfrm>
            <a:off x="6205527" y="5042577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C31E096-CF07-4BAD-9BB4-326F2C912DFC}"/>
              </a:ext>
            </a:extLst>
          </p:cNvPr>
          <p:cNvGrpSpPr/>
          <p:nvPr/>
        </p:nvGrpSpPr>
        <p:grpSpPr>
          <a:xfrm>
            <a:off x="129947" y="2051718"/>
            <a:ext cx="5423684" cy="4329610"/>
            <a:chOff x="129947" y="2051718"/>
            <a:chExt cx="5423684" cy="4329610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F21FFF33-65B6-4126-B55E-508CDD5D8B69}"/>
                </a:ext>
              </a:extLst>
            </p:cNvPr>
            <p:cNvGrpSpPr/>
            <p:nvPr/>
          </p:nvGrpSpPr>
          <p:grpSpPr>
            <a:xfrm>
              <a:off x="129947" y="2051718"/>
              <a:ext cx="5416362" cy="664572"/>
              <a:chOff x="137269" y="2051718"/>
              <a:chExt cx="5694211" cy="664572"/>
            </a:xfrm>
          </p:grpSpPr>
          <p:sp>
            <p:nvSpPr>
              <p:cNvPr id="64" name="Rectangle: Rounded Corners 63">
                <a:extLst>
                  <a:ext uri="{FF2B5EF4-FFF2-40B4-BE49-F238E27FC236}">
                    <a16:creationId xmlns:a16="http://schemas.microsoft.com/office/drawing/2014/main" id="{65A5E703-357F-4EF5-B517-4985A9130901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550212" cy="517317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tx1"/>
                    </a:solidFill>
                  </a:rPr>
                  <a:t>Make a GET response to the SpaceX REST API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tx1"/>
                    </a:solidFill>
                  </a:rPr>
                  <a:t>Convert the response to a .json file then to a Pandas DataFrame</a:t>
                </a: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FD57F5A6-0768-4894-BEB3-23DC34CCF171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1</a:t>
                </a: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A12783AC-107E-405B-AE46-76495AA5CA2F}"/>
                </a:ext>
              </a:extLst>
            </p:cNvPr>
            <p:cNvGrpSpPr/>
            <p:nvPr/>
          </p:nvGrpSpPr>
          <p:grpSpPr>
            <a:xfrm>
              <a:off x="129947" y="3035878"/>
              <a:ext cx="5423684" cy="1099636"/>
              <a:chOff x="137269" y="2051718"/>
              <a:chExt cx="5423684" cy="1099636"/>
            </a:xfrm>
          </p:grpSpPr>
          <p:sp>
            <p:nvSpPr>
              <p:cNvPr id="72" name="Rectangle: Rounded Corners 71">
                <a:extLst>
                  <a:ext uri="{FF2B5EF4-FFF2-40B4-BE49-F238E27FC236}">
                    <a16:creationId xmlns:a16="http://schemas.microsoft.com/office/drawing/2014/main" id="{DC1BC811-1AB8-44D5-AE89-6B3B0BEE0976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279685" cy="952381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Use custom logic to clean the data </a:t>
                </a:r>
                <a:r>
                  <a:rPr lang="en-GB" sz="1200" dirty="0">
                    <a:solidFill>
                      <a:schemeClr val="accent1"/>
                    </a:solidFill>
                  </a:rPr>
                  <a:t>(see Appendix)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Define lists for data to be stored i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Call custom functions </a:t>
                </a:r>
                <a:r>
                  <a:rPr lang="en-GB" sz="1200" dirty="0">
                    <a:solidFill>
                      <a:schemeClr val="accent1"/>
                    </a:solidFill>
                  </a:rPr>
                  <a:t>(see Appendix) </a:t>
                </a:r>
                <a:r>
                  <a:rPr lang="en-GB" sz="1200" dirty="0">
                    <a:solidFill>
                      <a:schemeClr val="tx1"/>
                    </a:solidFill>
                  </a:rPr>
                  <a:t>to retrieve data and fill the list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Use these lists as values in a dictionary and construct the dataset </a:t>
                </a: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36B7E9F0-44CA-4F36-ADA8-156F71E52419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2</a:t>
                </a: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4602B558-EDB7-4511-8362-1C6AE3BC95E6}"/>
                </a:ext>
              </a:extLst>
            </p:cNvPr>
            <p:cNvGrpSpPr/>
            <p:nvPr/>
          </p:nvGrpSpPr>
          <p:grpSpPr>
            <a:xfrm>
              <a:off x="129947" y="4455102"/>
              <a:ext cx="5423684" cy="507002"/>
              <a:chOff x="137269" y="2051718"/>
              <a:chExt cx="5423684" cy="507002"/>
            </a:xfrm>
          </p:grpSpPr>
          <p:sp>
            <p:nvSpPr>
              <p:cNvPr id="75" name="Rectangle: Rounded Corners 74">
                <a:extLst>
                  <a:ext uri="{FF2B5EF4-FFF2-40B4-BE49-F238E27FC236}">
                    <a16:creationId xmlns:a16="http://schemas.microsoft.com/office/drawing/2014/main" id="{1C6252E2-606D-4907-8C99-DEA8C3F3654C}"/>
                  </a:ext>
                </a:extLst>
              </p:cNvPr>
              <p:cNvSpPr/>
              <p:nvPr/>
            </p:nvSpPr>
            <p:spPr>
              <a:xfrm>
                <a:off x="281268" y="2198974"/>
                <a:ext cx="5279685" cy="359746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Create a Pandas DataFrame from the constructed dictionary dataset</a:t>
                </a: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733A18F6-5932-4DE6-B681-CE6A21D572FA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3</a:t>
                </a: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81FA3418-D807-4483-9363-C1DAFE87537B}"/>
                </a:ext>
              </a:extLst>
            </p:cNvPr>
            <p:cNvGrpSpPr/>
            <p:nvPr/>
          </p:nvGrpSpPr>
          <p:grpSpPr>
            <a:xfrm>
              <a:off x="129947" y="5281692"/>
              <a:ext cx="5423684" cy="1099636"/>
              <a:chOff x="137269" y="2051718"/>
              <a:chExt cx="5423684" cy="1099636"/>
            </a:xfrm>
          </p:grpSpPr>
          <p:sp>
            <p:nvSpPr>
              <p:cNvPr id="78" name="Rectangle: Rounded Corners 77">
                <a:extLst>
                  <a:ext uri="{FF2B5EF4-FFF2-40B4-BE49-F238E27FC236}">
                    <a16:creationId xmlns:a16="http://schemas.microsoft.com/office/drawing/2014/main" id="{BD331684-A308-4CCB-8AE8-62715ED400F4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279685" cy="952381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Filter the DataFrame to only include Falcon 9 launch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Reset the FlightNumber colum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Replace missing values of PayloadMass with the mean PayloadMass value</a:t>
                </a:r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5BE57BA1-DE81-4A82-9DE8-7E7F7A170213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4</a:t>
                </a:r>
              </a:p>
            </p:txBody>
          </p:sp>
        </p:grpSp>
      </p:grpSp>
      <p:sp>
        <p:nvSpPr>
          <p:cNvPr id="81" name="TextBox 80">
            <a:extLst>
              <a:ext uri="{FF2B5EF4-FFF2-40B4-BE49-F238E27FC236}">
                <a16:creationId xmlns:a16="http://schemas.microsoft.com/office/drawing/2014/main" id="{BD94C877-BB54-423D-BFB8-3013BA1E88AE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12"/>
              </a:rPr>
              <a:t>GitHub Link</a:t>
            </a:r>
            <a:endParaRPr lang="en-GB" sz="1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7EFA683-702F-8D5F-EDB0-7960638673C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2062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37705CB-E1C2-4BF4-9E9D-C843ED679950}"/>
              </a:ext>
            </a:extLst>
          </p:cNvPr>
          <p:cNvSpPr/>
          <p:nvPr/>
        </p:nvSpPr>
        <p:spPr>
          <a:xfrm>
            <a:off x="7921216" y="2000852"/>
            <a:ext cx="1991208" cy="386627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469" y="125375"/>
            <a:ext cx="8596668" cy="1320800"/>
          </a:xfrm>
        </p:spPr>
        <p:txBody>
          <a:bodyPr/>
          <a:lstStyle/>
          <a:p>
            <a:r>
              <a:rPr lang="en-US" dirty="0">
                <a:solidFill>
                  <a:srgbClr val="61AFEF"/>
                </a:solidFill>
              </a:rPr>
              <a:t>DATA COLLECTION </a:t>
            </a:r>
            <a:r>
              <a:rPr lang="en-US" dirty="0"/>
              <a:t>– </a:t>
            </a:r>
            <a:r>
              <a:rPr lang="en-US" dirty="0">
                <a:solidFill>
                  <a:schemeClr val="accent2"/>
                </a:solidFill>
              </a:rPr>
              <a:t>WEB SCRAPING</a:t>
            </a:r>
            <a:endParaRPr lang="en-US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4A44B8E-D348-4CB3-83E2-601D9AC90427}"/>
              </a:ext>
            </a:extLst>
          </p:cNvPr>
          <p:cNvSpPr txBox="1"/>
          <p:nvPr/>
        </p:nvSpPr>
        <p:spPr>
          <a:xfrm>
            <a:off x="154062" y="1052736"/>
            <a:ext cx="570986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rgbClr val="F0F0F0"/>
                </a:solidFill>
              </a:rPr>
              <a:t>Web scraping to collect Falcon 9 historical launch records from a Wikipedia page titled List of Falcon 9 and Falcon Heavy launches.</a:t>
            </a:r>
            <a:endParaRPr lang="en-US" sz="1600" dirty="0">
              <a:solidFill>
                <a:srgbClr val="F0F0F0"/>
              </a:solidFill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63EAAE0C-AD15-43D9-AB32-6192AE475489}"/>
              </a:ext>
            </a:extLst>
          </p:cNvPr>
          <p:cNvGrpSpPr/>
          <p:nvPr/>
        </p:nvGrpSpPr>
        <p:grpSpPr>
          <a:xfrm>
            <a:off x="5916030" y="862533"/>
            <a:ext cx="5856554" cy="920721"/>
            <a:chOff x="5916030" y="862533"/>
            <a:chExt cx="5856554" cy="920721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48B459F7-1B9F-459C-BC06-767291EFDCD1}"/>
                </a:ext>
              </a:extLst>
            </p:cNvPr>
            <p:cNvGrpSpPr/>
            <p:nvPr/>
          </p:nvGrpSpPr>
          <p:grpSpPr>
            <a:xfrm>
              <a:off x="6168008" y="980728"/>
              <a:ext cx="5604576" cy="802526"/>
              <a:chOff x="6192442" y="859995"/>
              <a:chExt cx="5952229" cy="846406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62A782CB-FBF8-480B-9344-F1A3121A289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3419"/>
              <a:stretch/>
            </p:blipFill>
            <p:spPr>
              <a:xfrm>
                <a:off x="6192442" y="859995"/>
                <a:ext cx="5952229" cy="319265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994D50CC-53FA-4221-81D3-C6F3448213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568986" y="1153391"/>
                <a:ext cx="2993092" cy="55301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</p:grp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BBB7E310-5744-44CD-9D4B-B79E10657BBC}"/>
                </a:ext>
              </a:extLst>
            </p:cNvPr>
            <p:cNvSpPr/>
            <p:nvPr/>
          </p:nvSpPr>
          <p:spPr>
            <a:xfrm>
              <a:off x="5916030" y="862533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1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44FE2AD-8293-4A18-9CD6-4214211CE245}"/>
              </a:ext>
            </a:extLst>
          </p:cNvPr>
          <p:cNvGrpSpPr/>
          <p:nvPr/>
        </p:nvGrpSpPr>
        <p:grpSpPr>
          <a:xfrm>
            <a:off x="8013015" y="2055091"/>
            <a:ext cx="1849112" cy="310813"/>
            <a:chOff x="7926045" y="1949064"/>
            <a:chExt cx="1963813" cy="327808"/>
          </a:xfrm>
        </p:grpSpPr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FBADA638-DD2C-45D4-97B8-F549079015B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926045" y="1949064"/>
              <a:ext cx="1963813" cy="14397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B0121EAB-24D4-4312-8BC0-A550484A2B3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957719" y="2109861"/>
              <a:ext cx="1900465" cy="16701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67" name="Oval 66">
            <a:extLst>
              <a:ext uri="{FF2B5EF4-FFF2-40B4-BE49-F238E27FC236}">
                <a16:creationId xmlns:a16="http://schemas.microsoft.com/office/drawing/2014/main" id="{B2C9F3D2-C317-4CBA-81AC-EA9F4FFFE359}"/>
              </a:ext>
            </a:extLst>
          </p:cNvPr>
          <p:cNvSpPr/>
          <p:nvPr/>
        </p:nvSpPr>
        <p:spPr>
          <a:xfrm>
            <a:off x="7777216" y="1856852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0B98088E-6604-4D67-A1EC-1614BA2960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8098" y="2635280"/>
            <a:ext cx="5319589" cy="12449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72" name="Oval 71">
            <a:extLst>
              <a:ext uri="{FF2B5EF4-FFF2-40B4-BE49-F238E27FC236}">
                <a16:creationId xmlns:a16="http://schemas.microsoft.com/office/drawing/2014/main" id="{FD8C8F7F-9D39-4618-9E2F-5BE725E8339B}"/>
              </a:ext>
            </a:extLst>
          </p:cNvPr>
          <p:cNvSpPr/>
          <p:nvPr/>
        </p:nvSpPr>
        <p:spPr>
          <a:xfrm>
            <a:off x="6182508" y="2490951"/>
            <a:ext cx="271179" cy="27306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B73F6E9-84C5-4B5E-88F5-979E8C598231}"/>
              </a:ext>
            </a:extLst>
          </p:cNvPr>
          <p:cNvGrpSpPr/>
          <p:nvPr/>
        </p:nvGrpSpPr>
        <p:grpSpPr>
          <a:xfrm>
            <a:off x="7098509" y="3981008"/>
            <a:ext cx="3575653" cy="2361807"/>
            <a:chOff x="7200949" y="4000329"/>
            <a:chExt cx="3575653" cy="2361807"/>
          </a:xfrm>
        </p:grpSpPr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EF7C2E8E-94D3-4BB8-80CE-7A7EAD67FF9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336539" y="4145206"/>
              <a:ext cx="3440063" cy="2216930"/>
            </a:xfrm>
            <a:prstGeom prst="roundRect">
              <a:avLst>
                <a:gd name="adj" fmla="val 5730"/>
              </a:avLst>
            </a:prstGeom>
            <a:solidFill>
              <a:srgbClr val="FFFFFF">
                <a:shade val="85000"/>
              </a:srgbClr>
            </a:solidFill>
            <a:ln w="28575">
              <a:solidFill>
                <a:schemeClr val="accent1"/>
              </a:solidFill>
            </a:ln>
            <a:effectLst>
              <a:reflection blurRad="12700" stA="38000" endPos="0" dist="5000" dir="5400000" sy="-100000" algn="bl" rotWithShape="0"/>
            </a:effectLst>
          </p:spPr>
        </p:pic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C50761B1-1B75-4004-9D23-2B51C0ECF96A}"/>
                </a:ext>
              </a:extLst>
            </p:cNvPr>
            <p:cNvSpPr/>
            <p:nvPr/>
          </p:nvSpPr>
          <p:spPr>
            <a:xfrm>
              <a:off x="7200949" y="4000329"/>
              <a:ext cx="271179" cy="273069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4</a:t>
              </a: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9176D75B-05EA-4B19-B6D3-B418F14B0ADD}"/>
              </a:ext>
            </a:extLst>
          </p:cNvPr>
          <p:cNvGrpSpPr/>
          <p:nvPr/>
        </p:nvGrpSpPr>
        <p:grpSpPr>
          <a:xfrm>
            <a:off x="7990438" y="6453336"/>
            <a:ext cx="1791794" cy="351360"/>
            <a:chOff x="8120630" y="6390008"/>
            <a:chExt cx="1791794" cy="351360"/>
          </a:xfrm>
        </p:grpSpPr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D04DB5DA-393F-422D-A930-C03E8FAE496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301903" y="6528412"/>
              <a:ext cx="1539839" cy="212956"/>
            </a:xfrm>
            <a:prstGeom prst="rect">
              <a:avLst/>
            </a:prstGeom>
          </p:spPr>
        </p:pic>
        <p:sp>
          <p:nvSpPr>
            <p:cNvPr id="81" name="Rectangle: Rounded Corners 80">
              <a:extLst>
                <a:ext uri="{FF2B5EF4-FFF2-40B4-BE49-F238E27FC236}">
                  <a16:creationId xmlns:a16="http://schemas.microsoft.com/office/drawing/2014/main" id="{D6C10BC8-0BF1-413F-B10D-1C5366151463}"/>
                </a:ext>
              </a:extLst>
            </p:cNvPr>
            <p:cNvSpPr/>
            <p:nvPr/>
          </p:nvSpPr>
          <p:spPr>
            <a:xfrm rot="10800000" flipV="1">
              <a:off x="8256240" y="6527288"/>
              <a:ext cx="1656184" cy="212956"/>
            </a:xfrm>
            <a:prstGeom prst="roundRect">
              <a:avLst>
                <a:gd name="adj" fmla="val 9723"/>
              </a:avLst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AF5A6ED4-370A-42C9-A9A3-6C185B573F1F}"/>
                </a:ext>
              </a:extLst>
            </p:cNvPr>
            <p:cNvSpPr/>
            <p:nvPr/>
          </p:nvSpPr>
          <p:spPr>
            <a:xfrm>
              <a:off x="8120630" y="6390008"/>
              <a:ext cx="271179" cy="27306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5</a:t>
              </a: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E08423B1-0899-4D23-A5E4-6ECDD6665537}"/>
              </a:ext>
            </a:extLst>
          </p:cNvPr>
          <p:cNvGrpSpPr/>
          <p:nvPr/>
        </p:nvGrpSpPr>
        <p:grpSpPr>
          <a:xfrm>
            <a:off x="98387" y="2051718"/>
            <a:ext cx="5416362" cy="664572"/>
            <a:chOff x="137269" y="2051718"/>
            <a:chExt cx="5694211" cy="664572"/>
          </a:xfrm>
        </p:grpSpPr>
        <p:sp>
          <p:nvSpPr>
            <p:cNvPr id="98" name="Rectangle: Rounded Corners 97">
              <a:extLst>
                <a:ext uri="{FF2B5EF4-FFF2-40B4-BE49-F238E27FC236}">
                  <a16:creationId xmlns:a16="http://schemas.microsoft.com/office/drawing/2014/main" id="{D9C8CD23-1B6A-44BA-8736-7C171EE6EF30}"/>
                </a:ext>
              </a:extLst>
            </p:cNvPr>
            <p:cNvSpPr/>
            <p:nvPr/>
          </p:nvSpPr>
          <p:spPr>
            <a:xfrm>
              <a:off x="281268" y="2198973"/>
              <a:ext cx="5550212" cy="517317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Request the HTML page from the static URL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Assign the response to an object</a:t>
              </a: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2E6729FD-4367-4F64-9850-04C6BA339563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1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2C6ECCBD-95B3-406E-A51B-0005DBA8196C}"/>
              </a:ext>
            </a:extLst>
          </p:cNvPr>
          <p:cNvGrpSpPr/>
          <p:nvPr/>
        </p:nvGrpSpPr>
        <p:grpSpPr>
          <a:xfrm>
            <a:off x="98387" y="2952032"/>
            <a:ext cx="5423684" cy="664574"/>
            <a:chOff x="137269" y="2051718"/>
            <a:chExt cx="5423684" cy="664574"/>
          </a:xfrm>
        </p:grpSpPr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6CEF0B9A-0F09-4660-86B1-07EF3DC71DEF}"/>
                </a:ext>
              </a:extLst>
            </p:cNvPr>
            <p:cNvSpPr/>
            <p:nvPr/>
          </p:nvSpPr>
          <p:spPr>
            <a:xfrm>
              <a:off x="281268" y="2198974"/>
              <a:ext cx="5279685" cy="517318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reate a BeautifulSoup object from the HTML response object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Find all tables within the HTML page</a:t>
              </a:r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87A6FD15-083C-4BB2-978A-DC3F7C055144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2</a:t>
              </a: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68C6E4DA-0F06-4249-8C07-86CCC23EB04E}"/>
              </a:ext>
            </a:extLst>
          </p:cNvPr>
          <p:cNvGrpSpPr/>
          <p:nvPr/>
        </p:nvGrpSpPr>
        <p:grpSpPr>
          <a:xfrm>
            <a:off x="98387" y="4752664"/>
            <a:ext cx="5423684" cy="885920"/>
            <a:chOff x="137269" y="2051718"/>
            <a:chExt cx="5423684" cy="885920"/>
          </a:xfrm>
        </p:grpSpPr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3385DFA2-E084-4E8A-A64B-2ECACEE0EA10}"/>
                </a:ext>
              </a:extLst>
            </p:cNvPr>
            <p:cNvSpPr/>
            <p:nvPr/>
          </p:nvSpPr>
          <p:spPr>
            <a:xfrm>
              <a:off x="281268" y="2198974"/>
              <a:ext cx="5279685" cy="738664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Use the column names as keys in a dictionar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Use custom functions and logic to parse all launch tables </a:t>
              </a:r>
              <a:r>
                <a:rPr lang="en-GB" sz="1200" dirty="0">
                  <a:solidFill>
                    <a:schemeClr val="accent1"/>
                  </a:solidFill>
                </a:rPr>
                <a:t>(see Appendix) </a:t>
              </a:r>
              <a:r>
                <a:rPr lang="en-GB" sz="1200" dirty="0">
                  <a:solidFill>
                    <a:schemeClr val="tx1"/>
                  </a:solidFill>
                </a:rPr>
                <a:t>to fill the dictionary values</a:t>
              </a:r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EFEE615F-EF95-4FB7-906D-F01590F3B3C5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4</a:t>
              </a: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071107B7-A607-4F22-84FD-0375DDEE24FE}"/>
              </a:ext>
            </a:extLst>
          </p:cNvPr>
          <p:cNvGrpSpPr/>
          <p:nvPr/>
        </p:nvGrpSpPr>
        <p:grpSpPr>
          <a:xfrm>
            <a:off x="98387" y="5874326"/>
            <a:ext cx="5423684" cy="507002"/>
            <a:chOff x="137269" y="2051718"/>
            <a:chExt cx="5423684" cy="507002"/>
          </a:xfrm>
        </p:grpSpPr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4BC70F49-C9CD-4930-90C2-C2E9F0A1C606}"/>
                </a:ext>
              </a:extLst>
            </p:cNvPr>
            <p:cNvSpPr/>
            <p:nvPr/>
          </p:nvSpPr>
          <p:spPr>
            <a:xfrm>
              <a:off x="281268" y="2198974"/>
              <a:ext cx="5279685" cy="359746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onvert the dictionary to a Pandas DataFrame ready for export</a:t>
              </a: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2B53FA17-FB4A-40DC-9347-88CE67C7A46B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5</a:t>
              </a: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68AEA285-1F25-41B4-893E-13537A7950FB}"/>
              </a:ext>
            </a:extLst>
          </p:cNvPr>
          <p:cNvGrpSpPr/>
          <p:nvPr/>
        </p:nvGrpSpPr>
        <p:grpSpPr>
          <a:xfrm>
            <a:off x="98387" y="3852348"/>
            <a:ext cx="5423684" cy="664574"/>
            <a:chOff x="137269" y="2051718"/>
            <a:chExt cx="5423684" cy="664574"/>
          </a:xfrm>
        </p:grpSpPr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8090EF49-CE73-4961-B2C7-1E72A88061A7}"/>
                </a:ext>
              </a:extLst>
            </p:cNvPr>
            <p:cNvSpPr/>
            <p:nvPr/>
          </p:nvSpPr>
          <p:spPr>
            <a:xfrm>
              <a:off x="281268" y="2198974"/>
              <a:ext cx="5279685" cy="517318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ollect all column header names from the tables found within the HTML page</a:t>
              </a: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94C0A95C-6072-4320-80E0-ADEBED7CD1F1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3</a:t>
              </a: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1371C763-D6D4-4861-9156-C410030BD15E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9"/>
              </a:rPr>
              <a:t>GitHub Link</a:t>
            </a:r>
            <a:endParaRPr lang="en-GB" sz="1000" dirty="0"/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39CF67DA-B6BD-442A-9E3B-E9F82178A808}"/>
              </a:ext>
            </a:extLst>
          </p:cNvPr>
          <p:cNvSpPr/>
          <p:nvPr/>
        </p:nvSpPr>
        <p:spPr>
          <a:xfrm>
            <a:off x="6095999" y="1006105"/>
            <a:ext cx="5709861" cy="818322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F7D25F9-C0AE-C490-89AA-F6DFE03431F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9560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336" y="329873"/>
            <a:ext cx="8596668" cy="1320800"/>
          </a:xfrm>
        </p:spPr>
        <p:txBody>
          <a:bodyPr/>
          <a:lstStyle/>
          <a:p>
            <a:r>
              <a:rPr lang="en-US" dirty="0">
                <a:solidFill>
                  <a:srgbClr val="61AFEF"/>
                </a:solidFill>
              </a:rPr>
              <a:t>DATA MANIPULATION/WRANGLING </a:t>
            </a:r>
            <a:r>
              <a:rPr lang="en-US" dirty="0"/>
              <a:t>– </a:t>
            </a:r>
            <a:r>
              <a:rPr lang="en-US" dirty="0">
                <a:solidFill>
                  <a:schemeClr val="accent2"/>
                </a:solidFill>
              </a:rPr>
              <a:t>PANDA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-231199" y="1476609"/>
            <a:ext cx="6339259" cy="5051517"/>
          </a:xfrm>
        </p:spPr>
        <p:txBody>
          <a:bodyPr>
            <a:normAutofit fontScale="25000" lnSpcReduction="20000"/>
          </a:bodyPr>
          <a:lstStyle/>
          <a:p>
            <a:pPr lvl="1" indent="0">
              <a:buNone/>
            </a:pPr>
            <a:r>
              <a:rPr lang="en-GB" sz="5600" dirty="0">
                <a:solidFill>
                  <a:srgbClr val="F0F0F0"/>
                </a:solidFill>
              </a:rPr>
              <a:t>Context:</a:t>
            </a:r>
          </a:p>
          <a:p>
            <a:pPr lvl="1" indent="-342900">
              <a:buFont typeface="Arial" panose="020B0604020202020204" pitchFamily="34" charset="0"/>
              <a:buChar char="•"/>
            </a:pPr>
            <a:r>
              <a:rPr lang="en-GB" sz="5400" dirty="0">
                <a:solidFill>
                  <a:srgbClr val="F0F0F0"/>
                </a:solidFill>
              </a:rPr>
              <a:t>The SpaceX dataset contains several Space X  launch facilities, and each location is in the</a:t>
            </a:r>
            <a:r>
              <a:rPr lang="en-GB" sz="5400" dirty="0">
                <a:solidFill>
                  <a:schemeClr val="bg1"/>
                </a:solidFill>
              </a:rPr>
              <a:t> </a:t>
            </a:r>
            <a:r>
              <a:rPr lang="en-GB" sz="5400" dirty="0">
                <a:solidFill>
                  <a:srgbClr val="61AFEF"/>
                </a:solidFill>
                <a:latin typeface="Consolas" panose="020B0609020204030204" pitchFamily="49" charset="0"/>
              </a:rPr>
              <a:t>LaunchSite</a:t>
            </a:r>
            <a:r>
              <a:rPr lang="en-GB" sz="5400" dirty="0">
                <a:solidFill>
                  <a:schemeClr val="bg1"/>
                </a:solidFill>
              </a:rPr>
              <a:t> </a:t>
            </a:r>
            <a:r>
              <a:rPr lang="en-GB" sz="5400" dirty="0">
                <a:solidFill>
                  <a:srgbClr val="F0F0F0"/>
                </a:solidFill>
              </a:rPr>
              <a:t>column.</a:t>
            </a:r>
          </a:p>
          <a:p>
            <a:pPr lvl="1" indent="-342900">
              <a:buFont typeface="Arial" panose="020B0604020202020204" pitchFamily="34" charset="0"/>
              <a:buChar char="•"/>
            </a:pPr>
            <a:r>
              <a:rPr lang="en-GB" sz="5400" dirty="0">
                <a:solidFill>
                  <a:srgbClr val="F0F0F0"/>
                </a:solidFill>
              </a:rPr>
              <a:t>Each launch aims to a dedicated orbit, and some of the common orbit types are shown in the figure below. The orbit type is in the </a:t>
            </a:r>
            <a:r>
              <a:rPr lang="en-GB" sz="5400" dirty="0">
                <a:solidFill>
                  <a:srgbClr val="61AFEF"/>
                </a:solidFill>
                <a:latin typeface="Consolas" panose="020B0609020204030204" pitchFamily="49" charset="0"/>
              </a:rPr>
              <a:t>Orbit</a:t>
            </a:r>
            <a:r>
              <a:rPr lang="en-GB" sz="5400" dirty="0"/>
              <a:t> </a:t>
            </a:r>
            <a:r>
              <a:rPr lang="en-GB" sz="5400" dirty="0">
                <a:solidFill>
                  <a:srgbClr val="F0F0F0"/>
                </a:solidFill>
              </a:rPr>
              <a:t>colum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lvl="1" indent="0">
              <a:buNone/>
            </a:pPr>
            <a:r>
              <a:rPr lang="en-GB" sz="5600" dirty="0">
                <a:solidFill>
                  <a:srgbClr val="F0F0F0"/>
                </a:solidFill>
              </a:rPr>
              <a:t>Initial Data Exploration:</a:t>
            </a:r>
          </a:p>
          <a:p>
            <a:pPr lvl="1" indent="-342900">
              <a:buFont typeface="Arial" panose="020B0604020202020204" pitchFamily="34" charset="0"/>
              <a:buChar char="•"/>
            </a:pPr>
            <a:r>
              <a:rPr lang="en-GB" sz="4600" dirty="0">
                <a:solidFill>
                  <a:srgbClr val="F0F0F0"/>
                </a:solidFill>
              </a:rPr>
              <a:t>Using the </a:t>
            </a:r>
            <a:r>
              <a:rPr lang="en-GB" sz="4600" b="0" dirty="0">
                <a:solidFill>
                  <a:schemeClr val="accent1"/>
                </a:solidFill>
                <a:effectLst/>
                <a:latin typeface="Consolas" panose="020B0609020204030204" pitchFamily="49" charset="0"/>
              </a:rPr>
              <a:t>.value_counts()</a:t>
            </a:r>
            <a:r>
              <a:rPr lang="en-GB" sz="4600" dirty="0"/>
              <a:t> </a:t>
            </a:r>
            <a:r>
              <a:rPr lang="en-GB" sz="4600" dirty="0">
                <a:solidFill>
                  <a:srgbClr val="F0F0F0"/>
                </a:solidFill>
              </a:rPr>
              <a:t>method to determine the following:</a:t>
            </a:r>
          </a:p>
          <a:p>
            <a:pPr marL="920750" lvl="2" indent="-342900">
              <a:buFont typeface="+mj-lt"/>
              <a:buAutoNum type="arabicPeriod"/>
            </a:pPr>
            <a:r>
              <a:rPr lang="en-GB" sz="4600" dirty="0">
                <a:solidFill>
                  <a:srgbClr val="F0F0F0"/>
                </a:solidFill>
              </a:rPr>
              <a:t>Number of launches on each site</a:t>
            </a:r>
          </a:p>
          <a:p>
            <a:pPr marL="920750" lvl="2" indent="-342900">
              <a:buFont typeface="+mj-lt"/>
              <a:buAutoNum type="arabicPeriod"/>
            </a:pPr>
            <a:r>
              <a:rPr lang="en-GB" sz="4600" dirty="0">
                <a:solidFill>
                  <a:srgbClr val="F0F0F0"/>
                </a:solidFill>
              </a:rPr>
              <a:t>Number and occurrence of each orbit</a:t>
            </a:r>
          </a:p>
          <a:p>
            <a:pPr marL="920750" lvl="2" indent="-342900">
              <a:buFont typeface="+mj-lt"/>
              <a:buAutoNum type="arabicPeriod"/>
            </a:pPr>
            <a:r>
              <a:rPr lang="en-GB" sz="4600" dirty="0">
                <a:solidFill>
                  <a:srgbClr val="F0F0F0"/>
                </a:solidFill>
              </a:rPr>
              <a:t>Number and occurrence of landing outcome per orbit typ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lvl="2" indent="0">
              <a:buNone/>
            </a:pPr>
            <a:endParaRPr lang="en-GB" sz="11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EACE13-983B-4AA9-AF1D-0A7DDB3CF7D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729" t="12200" r="13202" b="4851"/>
          <a:stretch/>
        </p:blipFill>
        <p:spPr>
          <a:xfrm>
            <a:off x="484867" y="2985406"/>
            <a:ext cx="2480184" cy="1765176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3C5F980-31E5-4580-9422-C5A526F73E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1807" y="349758"/>
            <a:ext cx="3010736" cy="123675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6D63F86-D0FD-4554-B688-B52D6F26C5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76069" y="1790816"/>
            <a:ext cx="2822211" cy="259048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7FA7808-D5FF-4F87-9A51-4A6DD912A9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81807" y="4585609"/>
            <a:ext cx="3010737" cy="19736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36" name="Oval 35">
            <a:extLst>
              <a:ext uri="{FF2B5EF4-FFF2-40B4-BE49-F238E27FC236}">
                <a16:creationId xmlns:a16="http://schemas.microsoft.com/office/drawing/2014/main" id="{E4E524EA-EA80-4A0C-9D92-2380D4F9BC81}"/>
              </a:ext>
            </a:extLst>
          </p:cNvPr>
          <p:cNvSpPr/>
          <p:nvPr/>
        </p:nvSpPr>
        <p:spPr>
          <a:xfrm>
            <a:off x="7824192" y="188640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16529085-605B-4B27-AD4D-35152471B00E}"/>
              </a:ext>
            </a:extLst>
          </p:cNvPr>
          <p:cNvSpPr/>
          <p:nvPr/>
        </p:nvSpPr>
        <p:spPr>
          <a:xfrm>
            <a:off x="7918454" y="1622215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C3E9F6F-F3FA-4E61-BD97-9A24F8205556}"/>
              </a:ext>
            </a:extLst>
          </p:cNvPr>
          <p:cNvSpPr/>
          <p:nvPr/>
        </p:nvSpPr>
        <p:spPr>
          <a:xfrm>
            <a:off x="7824192" y="4432455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829FF44-11A7-4AC8-842C-90953009D05A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6"/>
              </a:rPr>
              <a:t>GitHub Link</a:t>
            </a:r>
            <a:endParaRPr lang="en-GB" sz="1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4A8F0AB-584B-3C4A-763E-8B6E57C9D3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234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616" y="181481"/>
            <a:ext cx="9970832" cy="1320800"/>
          </a:xfrm>
        </p:spPr>
        <p:txBody>
          <a:bodyPr/>
          <a:lstStyle/>
          <a:p>
            <a:r>
              <a:rPr lang="en-US" dirty="0">
                <a:solidFill>
                  <a:srgbClr val="61AFEF"/>
                </a:solidFill>
              </a:rPr>
              <a:t>DATA MANIPULATION/WRANGLING </a:t>
            </a:r>
            <a:r>
              <a:rPr lang="en-US" dirty="0"/>
              <a:t>– </a:t>
            </a:r>
            <a:r>
              <a:rPr lang="en-US" dirty="0">
                <a:solidFill>
                  <a:schemeClr val="accent2"/>
                </a:solidFill>
              </a:rPr>
              <a:t>PANDA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-231053" y="1073817"/>
            <a:ext cx="7973061" cy="5523535"/>
          </a:xfrm>
        </p:spPr>
        <p:txBody>
          <a:bodyPr>
            <a:normAutofit/>
          </a:bodyPr>
          <a:lstStyle/>
          <a:p>
            <a:pPr lvl="1" indent="0">
              <a:buNone/>
            </a:pPr>
            <a:r>
              <a:rPr lang="en-GB" sz="1600" dirty="0">
                <a:solidFill>
                  <a:srgbClr val="F0F0F0"/>
                </a:solidFill>
              </a:rPr>
              <a:t>Context:</a:t>
            </a:r>
          </a:p>
          <a:p>
            <a:pPr lvl="1" indent="-342900">
              <a:buFont typeface="Arial" panose="020B0604020202020204" pitchFamily="34" charset="0"/>
              <a:buChar char="•"/>
            </a:pPr>
            <a:r>
              <a:rPr lang="en-GB" sz="1050" dirty="0">
                <a:solidFill>
                  <a:srgbClr val="F0F0F0"/>
                </a:solidFill>
              </a:rPr>
              <a:t>The landing outcome is shown in the </a:t>
            </a:r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Outcome</a:t>
            </a:r>
            <a:r>
              <a:rPr lang="en-GB" sz="1050" dirty="0"/>
              <a:t> </a:t>
            </a:r>
            <a:r>
              <a:rPr lang="en-GB" sz="1050" dirty="0">
                <a:solidFill>
                  <a:srgbClr val="F0F0F0"/>
                </a:solidFill>
              </a:rPr>
              <a:t>column:</a:t>
            </a:r>
          </a:p>
          <a:p>
            <a:pPr marL="920750" lvl="2" indent="-342900"/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True Ocean </a:t>
            </a:r>
            <a:r>
              <a:rPr lang="en-GB" sz="1050" dirty="0">
                <a:solidFill>
                  <a:srgbClr val="F0F0F0"/>
                </a:solidFill>
              </a:rPr>
              <a:t>–  the mission outcome was successfully  landed to a specific region of the ocean </a:t>
            </a:r>
          </a:p>
          <a:p>
            <a:pPr marL="920750" lvl="2" indent="-342900"/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False Ocean </a:t>
            </a:r>
            <a:r>
              <a:rPr lang="en-GB" sz="1050" dirty="0">
                <a:solidFill>
                  <a:srgbClr val="F0F0F0"/>
                </a:solidFill>
              </a:rPr>
              <a:t>– the mission outcome was unsuccessfully landed to a specific region of the ocean. </a:t>
            </a:r>
          </a:p>
          <a:p>
            <a:pPr marL="920750" lvl="2" indent="-342900"/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True RTLS </a:t>
            </a:r>
            <a:r>
              <a:rPr lang="en-GB" sz="1050" dirty="0">
                <a:solidFill>
                  <a:srgbClr val="F0F0F0"/>
                </a:solidFill>
              </a:rPr>
              <a:t>–  the mission outcome was successfully  landed to a ground pad</a:t>
            </a:r>
          </a:p>
          <a:p>
            <a:pPr marL="920750" lvl="2" indent="-342900"/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False RTLS </a:t>
            </a:r>
            <a:r>
              <a:rPr lang="en-GB" sz="1050" dirty="0">
                <a:solidFill>
                  <a:srgbClr val="F0F0F0"/>
                </a:solidFill>
              </a:rPr>
              <a:t>– the mission outcome was unsuccessfully landed to a ground pad.</a:t>
            </a:r>
          </a:p>
          <a:p>
            <a:pPr marL="920750" lvl="2" indent="-342900"/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True ASDS </a:t>
            </a:r>
            <a:r>
              <a:rPr lang="en-GB" sz="1050" dirty="0">
                <a:solidFill>
                  <a:srgbClr val="F0F0F0"/>
                </a:solidFill>
              </a:rPr>
              <a:t>– the mission outcome was successfully  landed to a drone ship</a:t>
            </a:r>
          </a:p>
          <a:p>
            <a:pPr marL="920750" lvl="2" indent="-342900"/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False ASDS</a:t>
            </a:r>
            <a:r>
              <a:rPr lang="en-GB" sz="1050" dirty="0"/>
              <a:t> </a:t>
            </a:r>
            <a:r>
              <a:rPr lang="en-GB" sz="1050" dirty="0">
                <a:solidFill>
                  <a:srgbClr val="F0F0F0"/>
                </a:solidFill>
              </a:rPr>
              <a:t>– the mission outcome was unsuccessfully landed to a drone ship. </a:t>
            </a:r>
          </a:p>
          <a:p>
            <a:pPr marL="920750" lvl="2" indent="-342900"/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None ASDS </a:t>
            </a:r>
            <a:r>
              <a:rPr lang="en-GB" sz="1050" dirty="0">
                <a:solidFill>
                  <a:srgbClr val="F0F0F0"/>
                </a:solidFill>
              </a:rPr>
              <a:t>and</a:t>
            </a:r>
            <a:r>
              <a:rPr lang="en-GB" sz="1050" dirty="0"/>
              <a:t> </a:t>
            </a:r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None None </a:t>
            </a:r>
            <a:r>
              <a:rPr lang="en-GB" sz="1050" dirty="0">
                <a:solidFill>
                  <a:srgbClr val="F0F0F0"/>
                </a:solidFill>
              </a:rPr>
              <a:t>– these represent a failure to land.</a:t>
            </a:r>
          </a:p>
          <a:p>
            <a:pPr marL="520700" lvl="1" indent="-342900"/>
            <a:endParaRPr lang="en-GB" sz="1200" dirty="0"/>
          </a:p>
          <a:p>
            <a:pPr lvl="1" indent="0">
              <a:buNone/>
            </a:pPr>
            <a:r>
              <a:rPr lang="en-GB" sz="1600" dirty="0">
                <a:solidFill>
                  <a:srgbClr val="F0F0F0"/>
                </a:solidFill>
              </a:rPr>
              <a:t>Data Wrangling:</a:t>
            </a:r>
          </a:p>
          <a:p>
            <a:pPr marL="685800" lvl="1">
              <a:buFont typeface="Arial" panose="020B0604020202020204" pitchFamily="34" charset="0"/>
              <a:buChar char="•"/>
            </a:pPr>
            <a:r>
              <a:rPr lang="en-GB" sz="1050" dirty="0">
                <a:solidFill>
                  <a:srgbClr val="F0F0F0"/>
                </a:solidFill>
              </a:rPr>
              <a:t>To determine whether a booster will successfully land, it is best to have a binary column, i.e., where the value is 1 or 0, representing the success of the landing. </a:t>
            </a:r>
          </a:p>
          <a:p>
            <a:pPr marL="685800" lvl="1">
              <a:buFont typeface="Arial" panose="020B0604020202020204" pitchFamily="34" charset="0"/>
              <a:buChar char="•"/>
            </a:pPr>
            <a:r>
              <a:rPr lang="en-GB" sz="1050" dirty="0">
                <a:solidFill>
                  <a:srgbClr val="F0F0F0"/>
                </a:solidFill>
              </a:rPr>
              <a:t>This is done by:</a:t>
            </a:r>
          </a:p>
          <a:p>
            <a:pPr marL="863600" lvl="2" indent="-285750">
              <a:buFont typeface="+mj-lt"/>
              <a:buAutoNum type="arabicPeriod"/>
            </a:pPr>
            <a:r>
              <a:rPr lang="en-GB" sz="1050" dirty="0">
                <a:solidFill>
                  <a:srgbClr val="F0F0F0"/>
                </a:solidFill>
              </a:rPr>
              <a:t>Defining a set of unsuccessful (bad) outcomes, </a:t>
            </a:r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bad_outcome</a:t>
            </a:r>
          </a:p>
          <a:p>
            <a:pPr marL="863600" lvl="2" indent="-285750">
              <a:buFont typeface="+mj-lt"/>
              <a:buAutoNum type="arabicPeriod"/>
            </a:pPr>
            <a:r>
              <a:rPr lang="en-GB" sz="1050" dirty="0">
                <a:solidFill>
                  <a:srgbClr val="F0F0F0"/>
                </a:solidFill>
              </a:rPr>
              <a:t>Creating a list, </a:t>
            </a:r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landing_class</a:t>
            </a:r>
            <a:r>
              <a:rPr lang="en-GB" sz="1050" dirty="0">
                <a:solidFill>
                  <a:srgbClr val="F0F0F0"/>
                </a:solidFill>
              </a:rPr>
              <a:t>, where the element is 0 if the corresponding  row  in  </a:t>
            </a:r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Outcome </a:t>
            </a:r>
            <a:r>
              <a:rPr lang="en-GB" sz="1050" dirty="0">
                <a:solidFill>
                  <a:srgbClr val="F0F0F0"/>
                </a:solidFill>
              </a:rPr>
              <a:t>is in the set </a:t>
            </a:r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bad_outcome</a:t>
            </a:r>
            <a:r>
              <a:rPr lang="en-GB" sz="1050" dirty="0">
                <a:solidFill>
                  <a:srgbClr val="F0F0F0"/>
                </a:solidFill>
              </a:rPr>
              <a:t>, otherwise, it’s 1. </a:t>
            </a:r>
          </a:p>
          <a:p>
            <a:pPr marL="863600" lvl="2" indent="-285750">
              <a:buFont typeface="+mj-lt"/>
              <a:buAutoNum type="arabicPeriod"/>
            </a:pPr>
            <a:r>
              <a:rPr lang="en-GB" sz="1050" dirty="0">
                <a:solidFill>
                  <a:srgbClr val="F0F0F0"/>
                </a:solidFill>
              </a:rPr>
              <a:t>Create a </a:t>
            </a:r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Class</a:t>
            </a:r>
            <a:r>
              <a:rPr lang="en-GB" sz="1050" dirty="0"/>
              <a:t> </a:t>
            </a:r>
            <a:r>
              <a:rPr lang="en-GB" sz="1050" dirty="0">
                <a:solidFill>
                  <a:srgbClr val="F0F0F0"/>
                </a:solidFill>
              </a:rPr>
              <a:t>column that  contains the values from the list </a:t>
            </a:r>
            <a:r>
              <a:rPr lang="en-GB" sz="1050" dirty="0">
                <a:solidFill>
                  <a:srgbClr val="61AFEF"/>
                </a:solidFill>
                <a:latin typeface="Consolas" panose="020B0609020204030204" pitchFamily="49" charset="0"/>
              </a:rPr>
              <a:t>landing_class </a:t>
            </a:r>
          </a:p>
          <a:p>
            <a:pPr marL="863600" lvl="2" indent="-285750">
              <a:buFont typeface="+mj-lt"/>
              <a:buAutoNum type="arabicPeriod"/>
            </a:pPr>
            <a:r>
              <a:rPr lang="en-GB" sz="1050" dirty="0">
                <a:solidFill>
                  <a:srgbClr val="F0F0F0"/>
                </a:solidFill>
              </a:rPr>
              <a:t>Export the DataFrame as a .csv file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3830511-C957-4952-AB09-8E969DBA71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02982" y="2792010"/>
            <a:ext cx="2653334" cy="195012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AD7F3D1-90B6-4134-8857-3B06F3ACD7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80276" y="5732928"/>
            <a:ext cx="3498746" cy="58312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175496B-53CE-4EE1-83CF-AF3B8527CA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29549" y="5143772"/>
            <a:ext cx="1800200" cy="18752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2ED9ABB-61DC-420D-BD60-52BFA3DF87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6200" y="1571840"/>
            <a:ext cx="4066898" cy="81853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1DF1107F-F74A-4304-8DE6-93916235A5B1}"/>
              </a:ext>
            </a:extLst>
          </p:cNvPr>
          <p:cNvSpPr/>
          <p:nvPr/>
        </p:nvSpPr>
        <p:spPr>
          <a:xfrm>
            <a:off x="7742008" y="1412776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66093CA5-2EC8-4B34-A1C8-F0C4091F6EE7}"/>
              </a:ext>
            </a:extLst>
          </p:cNvPr>
          <p:cNvSpPr/>
          <p:nvPr/>
        </p:nvSpPr>
        <p:spPr>
          <a:xfrm>
            <a:off x="8451680" y="2632946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02402AA-948A-4B29-B94D-F54509BA10EA}"/>
              </a:ext>
            </a:extLst>
          </p:cNvPr>
          <p:cNvSpPr/>
          <p:nvPr/>
        </p:nvSpPr>
        <p:spPr>
          <a:xfrm>
            <a:off x="8855275" y="4919405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FCE79089-D131-4132-9A95-62FAEED47BA8}"/>
              </a:ext>
            </a:extLst>
          </p:cNvPr>
          <p:cNvSpPr/>
          <p:nvPr/>
        </p:nvSpPr>
        <p:spPr>
          <a:xfrm>
            <a:off x="8028974" y="5573864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0C5CC0C-B0DF-4DEE-9B5B-199178D8350C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6"/>
              </a:rPr>
              <a:t>GitHub Link</a:t>
            </a:r>
            <a:endParaRPr lang="en-GB" sz="1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C213238-C910-7FBE-5C6D-D234949BACC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8203" y="6558757"/>
            <a:ext cx="2682472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5660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c7af6dba-f870-40c6-a7fb-5991d73382cc"/>
  <p:tag name="EE4P_AGENDAWIZARD" val="&lt;ee4p&gt;&lt;layouts&gt;&lt;layout name=&quot;Capgemini Line White&quot; id=&quot;435_5&quot;&gt;&lt;standard&gt;&lt;textframe horizontalAnchor=&quot;1&quot; marginBottom=&quot;0&quot; marginLeft=&quot;0&quot; marginRight=&quot;0&quot; marginTop=&quot;0&quot; orientation=&quot;1&quot; verticalAnchor=&quot;1&quot; /&gt;&lt;font name=&quot;Ubuntu&quot; bold=&quot;0&quot; italic=&quot;0&quot; color=&quot;#000000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2&quot; fontSize=&quot;24&quot; fontSizeAuto=&quot;1&quot; startTime=&quot;540&quot; timeFormatId=&quot;2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2&quot; /&gt;&lt;column field=&quot;topic&quot; label=&quot;Topic&quot; leftSpacing=&quot;1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2.07629&quot; top=&quot;139.5117&quot; width=&quot;657.3808&quot; height=&quot;368.6249&quot; /&gt;&lt;settings allowedSizingModeIds=&quot;1|2&quot; allowedFontSizes=&quot;8|9|10|10.5|11|12|14|16|18&quot; allowedTimeFormatIds=&quot;1|2|3&quot; slideLayout=&quot;11&quot; customLayoutName=&quot;Only Title&quot; customLayoutNameBackup=&quot;Only Title&quot; customLayoutIndex=&quot;&quot; showBreak=&quot;1&quot; singleAgendaSlideSelected=&quot;0&quot; backupSlideTitle=&quot;Backup: %agendaName%&quot; topMargin=&quot;0&quot; leftMargin=&quot;0&quot; allowedLevels=&quot;4&quot; itemNoFormats=&quot;{1:2}¦{1:2}.{2}¦{3:alphaLC}¦{3:alphaLC}.{4:alphaLC}&quot; /&gt;&lt;!-- Agenda item formats --&gt;&lt;cases&gt;&lt;case level=&quot;1&quot; selected=&quot;0&quot; break=&quot;0&quot; topMinSpacing=&quot;15&quot; topMaxSpacing=&quot;15&quot; bottomMinSpacing=&quot;0&quot; bottomMaxSpacing=&quot;0&quot;&gt;&lt;element field=&quot;itemno&quot; type=&quot;autoshape&quot; autoShape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itemno&quot; type=&quot;autoshape&quot; autoShape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15&quot; topMaxSpacing=&quot;15&quot; bottomMinSpacing=&quot;0&quot; bottomMaxSpacing=&quot;0&quot;&gt;&lt;element field=&quot;itemno&quot; type=&quot;autoshape&quot; autoShapeType=&quot;1&quot; indent=&quot;(level-1)*(itemNoWidth+topicLeftSpacing) &quot; indent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 indent=&quot;(level-1)*(itemNoWidth+topicLeftSpacing) &quot; indentType=&quot;2&quot;&gt;&lt;paragraphformat alignment=&quot;1&quot; /&gt;&lt;textframe marginLeft=&quot;0&quot; /&gt;&lt;/element&gt;&lt;element field=&quot;responsible&quot; type=&quot;autoshape&quot; autoShapeType=&quot;1&quot; indent=&quot;(level-1)*(itemNoWidth+topicLeftSpacing) &quot; indentType=&quot;1&quot;&gt;&lt;paragraphformat alignment=&quot;1&quot; /&gt;&lt;/element&gt;&lt;element field=&quot;freecolumn&quot; type=&quot;autoshape&quot; autoShapeType=&quot;1&quot; indent=&quot;(level-1)*(itemNoWidth+topicLeftSpacing) &quot; indent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itemno&quot; type=&quot;autoshape&quot; autoShapeType=&quot;1&quot; indent=&quot;(level-1)*(itemNoWidth+topicLeftSpacing) &quot; indent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 indent=&quot;(level-1)*(itemNoWidth+topicLeftSpacing) &quot; indentType=&quot;2&quot;&gt;&lt;paragraphformat alignment=&quot;1&quot; /&gt;&lt;textframe marginLeft=&quot;0&quot; /&gt;&lt;/element&gt;&lt;element field=&quot;responsible&quot; type=&quot;autoshape&quot; autoShapeType=&quot;1&quot; indent=&quot;(level-1)*(itemNoWidth+topicLeftSpacing) &quot; indentType=&quot;1&quot;&gt;&lt;paragraphformat alignment=&quot;1&quot; /&gt;&lt;/element&gt;&lt;element field=&quot;freecolumn&quot; type=&quot;autoshape&quot; autoShapeType=&quot;1&quot; indent=&quot;(level-1)*(itemNoWidth+topicLeftSpacing) &quot; indent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15&quot; topMaxSpacing=&quot;15&quot; bottomMinSpacing=&quot;0&quot; bottomMaxSpacing=&quot;0&quot;&gt;&lt;element field=&quot;topic&quot; type=&quot;autoshape&quot; autoShapeType=&quot;1&quot; indent=&quot;(level-1)*(itemNoWidth+topicLeftSpacing) &quot; indentType=&quot;2&quot;&gt;&lt;paragraphformat alignment=&quot;1&quot; /&gt;&lt;font italic=&quot;1&quot; /&gt;&lt;/element&gt;&lt;element field=&quot;responsible&quot; type=&quot;autoshape&quot; autoShapeType=&quot;1&quot; indent=&quot;(level-1)*(itemNoWidth+topicLeftSpacing) &quot; indentType=&quot;1&quot;&gt;&lt;paragraphformat alignment=&quot;1&quot; /&gt;&lt;font italic=&quot;1&quot; /&gt;&lt;/element&gt;&lt;element field=&quot;freecolumn&quot; type=&quot;autoshape&quot; autoShapeType=&quot;1&quot; indent=&quot;(level-1)*(itemNoWidth+topicLeftSpacing) &quot; indentType=&quot;1&quot;&gt;&lt;paragraphformat alignment=&quot;1&quot; /&gt;&lt;font italic=&quot;1&quot; /&gt;&lt;/element&gt;&lt;element field=&quot;timeslot&quot; type=&quot;autoshape&quot; autoShapeType=&quot;1&quot;&gt;&lt;paragraphformat alignment=&quot;3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topic&quot; type=&quot;autoshape&quot; autoShapeType=&quot;1&quot; indent=&quot;(level-1)*(itemNoWidth+topicLeftSpacing) &quot; indentType=&quot;2&quot;&gt;&lt;paragraphformat alignment=&quot;1&quot; /&gt;&lt;font italic=&quot;1&quot; /&gt;&lt;/element&gt;&lt;element field=&quot;responsible&quot; type=&quot;autoshape&quot; autoShapeType=&quot;1&quot; indent=&quot;(level-1)*(itemNoWidth+topicLeftSpacing) &quot; indentType=&quot;1&quot;&gt;&lt;paragraphformat alignment=&quot;1&quot; /&gt;&lt;font italic=&quot;1&quot; /&gt;&lt;/element&gt;&lt;element field=&quot;freecolumn&quot; type=&quot;autoshape&quot; autoShapeType=&quot;1&quot; indent=&quot;(level-1)*(itemNoWidth+topicLeftSpacing) &quot; indentType=&quot;1&quot;&gt;&lt;paragraphformat alignment=&quot;1&quot; /&gt;&lt;font italic=&quot;1&quot; /&gt;&lt;/element&gt;&lt;element field=&quot;timeslot&quot; type=&quot;autoshape&quot; autoShapeType=&quot;1&quot;&gt;&lt;paragraphformat alignment=&quot;3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   &lt;element type=&quot;picture&quot; picture=&quot;image.png&quot; value=&quot;asdf&quot;  &gt;&#10;          &lt;position left=&quot;-278.9405&quot; top=&quot;-142.375&quot; width=&quot;457.6407&quot; height=&quot;540.0002&quot;/&gt;        &#10;        &lt;/element&gt;&#10;&#10;        &lt;element type=&quot;picture&quot; picture=&quot;BG_blue.png&quot; value=&quot;asdf&quot;  &gt;&#10;          &lt;position left=&quot;-278.9405&quot; top=&quot;-142.375&quot; width=&quot;960&quot; height=&quot;540&quot;/&gt;        &#10;        &lt;/element&gt; --&gt;&lt;/elements&gt;&lt;/layout&gt;&lt;/layouts&gt;&lt;contents&gt;&lt;agenda name=&quot;Outline&quot; title=&quot;Outline&quot; subtitle=&quot;&quot; sizingModeId=&quot;2&quot; fontSize=&quot;24&quot; fontSizeAuto=&quot;1&quot; startTime=&quot;540&quot; timeFormatId=&quot;2&quot; startItemNo=&quot;1&quot; createSingleAgendaSlide=&quot;1&quot; createSeparatingSlides=&quot;1&quot; createBackupSlide=&quot;1&quot; layoutId=&quot;435_5&quot; hideSeparatingSlides=&quot;0&quot; createSections=&quot;1&quot; singleSlideId=&quot;9a15118f-2457-4e4f-8d58-1bccb311b8bc&quot; backupSlideId=&quot;8fb936cb-0e6a-4b0c-a66f-de8e04eb4592&quot; backupSectionId=&quot;{91510ABB-4C7C-4297-81D7-A7AE193C2BCA}&quot;&gt;&lt;columns leftSpacing=&quot;0&quot; rightSpacing=&quot;0&quot;&gt;&lt;column field=&quot;itemno&quot; label=&quot;No.&quot; checked=&quot;1&quot; leftSpacing=&quot;0&quot; rightSpacing=&quot;0&quot; dock=&quot;1&quot; fixedWidth=&quot;52&quot; /&gt;&lt;column field=&quot;topic&quot; label=&quot;Topic&quot; leftSpacing=&quot;10&quot; rightDistribute=&quot;1&quot; dock=&quot;1&quot; rightSpacing=&quot;351.4262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24437051-cf92-4038-9ed6-d3b77e272e8f&quot; parentId=&quot;&quot; level=&quot;1&quot; generateAgendaSlide=&quot;1&quot; showAgendaItem=&quot;1&quot; isBreak=&quot;0&quot; topic=&quot;Executive Summary&quot; agendaSlideId=&quot;146861f8-915e-4237-805b-a1c57fedc195&quot; sectionId=&quot;{40C38458-3B6B-447C-8E2F-CA87C9771756}&quot; /&gt;&lt;item duration=&quot;30&quot; id=&quot;cd49c929-de54-4ea8-b7cb-da89736391c6&quot; parentId=&quot;&quot; level=&quot;1&quot; generateAgendaSlide=&quot;1&quot; showAgendaItem=&quot;1&quot; isBreak=&quot;0&quot; topic=&quot;Introduction&quot; agendaSlideId=&quot;4dcf1c06-1359-4dee-82c9-16807f40fc36&quot; sectionId=&quot;{DD3E096C-4BB7-468B-A8F9-D8CE7C111367}&quot; /&gt;&lt;item duration=&quot;30&quot; id=&quot;1c02b369-7862-4320-8052-c478cfce6c1d&quot; parentId=&quot;&quot; level=&quot;1&quot; generateAgendaSlide=&quot;1&quot; showAgendaItem=&quot;1&quot; isBreak=&quot;0&quot; topic=&quot;Methodology&quot; agendaSlideId=&quot;76c302db-66a8-4a9b-9234-fa18cbc2c64e&quot; sectionId=&quot;{C297DFD6-C800-4BD1-8587-0C3AA048A953}&quot; /&gt;&lt;item duration=&quot;30&quot; id=&quot;fa43df40-8d47-485b-bca9-6cefb4c0cbed&quot; parentId=&quot;&quot; level=&quot;1&quot; generateAgendaSlide=&quot;1&quot; showAgendaItem=&quot;1&quot; isBreak=&quot;0&quot; topic=&quot;Results&quot; agendaSlideId=&quot;f262cb05-8f5f-4f6d-9a87-8fa499be5a9e&quot; sectionId=&quot;{7EB43C17-7B95-40CC-B07E-ACE53397B75A}&quot; /&gt;&lt;item duration=&quot;30&quot; id=&quot;1bcbdd36-477f-4881-ac1b-04df6e70366d&quot; parentId=&quot;&quot; level=&quot;1&quot; generateAgendaSlide=&quot;1&quot; showAgendaItem=&quot;1&quot; isBreak=&quot;0&quot; topic=&quot;Conclusion&quot; agendaSlideId=&quot;5044af6b-4938-4d75-a0e9-47a5bdafd29b&quot; sectionId=&quot;{5CF66A29-A6D5-466D-843F-754F7392E497}&quot; /&gt;&lt;item duration=&quot;30&quot; id=&quot;fa3c7689-6df6-443c-9aa1-1b30b15e20ad&quot; parentId=&quot;&quot; level=&quot;1&quot; generateAgendaSlide=&quot;1&quot; showAgendaItem=&quot;1&quot; isBreak=&quot;0&quot; topic=&quot;Appendix&quot; agendaSlideId=&quot;5bbaebe8-0d04-4666-8c7a-4849855572b9&quot; sectionId=&quot;{F3055773-E776-427D-86F7-B157A60B85D7}&quot; /&gt;&lt;/items&gt;&lt;/agenda&gt;&lt;/contents&gt;&lt;/ee4p&gt;"/>
  <p:tag name="EE4P_AGENDAWIZARD_UPDATEPAGENUMBER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c302db-66a8-4a9b-9234-fa18cbc2c64e_ItemNo"/>
  <p:tag name="EE4P_AGENDAWIZARD_CONTENT" val="/03"/>
  <p:tag name="EE4P_AGENDAWIZARD_PROPERTIES" val="32.0763/227.6743/52/29.0812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cf1c06-1359-4dee-82c9-16807f40fc36_Topic"/>
  <p:tag name="EE4P_AGENDAWIZARD_CONTENT" val="/Introduction"/>
  <p:tag name="EE4P_AGENDAWIZARD_PROPERTIES" val="94.0763/183.593/214.3228/29.0812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cf1c06-1359-4dee-82c9-16807f40fc36_ItemNo"/>
  <p:tag name="EE4P_AGENDAWIZARD_CONTENT" val="/02"/>
  <p:tag name="EE4P_AGENDAWIZARD_PROPERTIES" val="32.0763/183.593/52/29.0812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46861f8-915e-4237-805b-a1c57fedc195_Topic"/>
  <p:tag name="EE4P_AGENDAWIZARD_CONTENT" val="/Executive Summary"/>
  <p:tag name="EE4P_AGENDAWIZARD_PROPERTIES" val="94.0763/139.5117/214.3228/29.0812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46861f8-915e-4237-805b-a1c57fedc195_ItemNo"/>
  <p:tag name="EE4P_AGENDAWIZARD_CONTENT" val="/01"/>
  <p:tag name="EE4P_AGENDAWIZARD_PROPERTIES" val="32.0763/139.5117/52/29.0812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9a15118f-2457-4e4f-8d58-1bccb311b8bc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aebe8-0d04-4666-8c7a-4849855572b9_Topic"/>
  <p:tag name="EE4P_AGENDAWIZARD_CONTENT" val="/Appendix"/>
  <p:tag name="EE4P_AGENDAWIZARD_PROPERTIES" val="94.0763/359.918/214.3228/29.0812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aebe8-0d04-4666-8c7a-4849855572b9_ItemNo"/>
  <p:tag name="EE4P_AGENDAWIZARD_CONTENT" val="/06"/>
  <p:tag name="EE4P_AGENDAWIZARD_PROPERTIES" val="32.0763/359.918/52/29.0812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044af6b-4938-4d75-a0e9-47a5bdafd29b_Topic"/>
  <p:tag name="EE4P_AGENDAWIZARD_CONTENT" val="/Conclusion"/>
  <p:tag name="EE4P_AGENDAWIZARD_PROPERTIES" val="94.0763/315.8368/214.3228/29.0812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044af6b-4938-4d75-a0e9-47a5bdafd29b_ItemNo"/>
  <p:tag name="EE4P_AGENDAWIZARD_CONTENT" val="/05"/>
  <p:tag name="EE4P_AGENDAWIZARD_PROPERTIES" val="32.0763/315.8368/52/29.0812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262cb05-8f5f-4f6d-9a87-8fa499be5a9e_Topic"/>
  <p:tag name="EE4P_AGENDAWIZARD_CONTENT" val="/Results"/>
  <p:tag name="EE4P_AGENDAWIZARD_PROPERTIES" val="94.0763/271.7555/214.3228/29.0812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262cb05-8f5f-4f6d-9a87-8fa499be5a9e_ItemNo"/>
  <p:tag name="EE4P_AGENDAWIZARD_CONTENT" val="/04"/>
  <p:tag name="EE4P_AGENDAWIZARD_PROPERTIES" val="32.0763/271.7555/52/29.0812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c302db-66a8-4a9b-9234-fa18cbc2c64e_Topic"/>
  <p:tag name="EE4P_AGENDAWIZARD_CONTENT" val="/Methodology"/>
  <p:tag name="EE4P_AGENDAWIZARD_PROPERTIES" val="94.0763/227.6743/214.3228/29.08126"/>
</p:tagLst>
</file>

<file path=ppt/theme/theme1.xml><?xml version="1.0" encoding="utf-8"?>
<a:theme xmlns:a="http://schemas.openxmlformats.org/drawingml/2006/main" name="Facet">
  <a:themeElements>
    <a:clrScheme name="Custom 3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0070C0"/>
      </a:accent1>
      <a:accent2>
        <a:srgbClr val="002060"/>
      </a:accent2>
      <a:accent3>
        <a:srgbClr val="AF8C13"/>
      </a:accent3>
      <a:accent4>
        <a:srgbClr val="3A3A3A"/>
      </a:accent4>
      <a:accent5>
        <a:srgbClr val="C42F1A"/>
      </a:accent5>
      <a:accent6>
        <a:srgbClr val="918655"/>
      </a:accent6>
      <a:hlink>
        <a:srgbClr val="0070C0"/>
      </a:hlink>
      <a:folHlink>
        <a:srgbClr val="002060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8C59B386-999D-4CB6-B907-9F3997C027CC}"/>
    </a:ext>
  </a:extLst>
</a:theme>
</file>

<file path=ppt/theme/theme2.xml><?xml version="1.0" encoding="utf-8"?>
<a:theme xmlns:a="http://schemas.openxmlformats.org/drawingml/2006/main" name="Tema do Office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1EE8B34568B7041A5F0B3041B85A64D" ma:contentTypeVersion="6" ma:contentTypeDescription="Ein neues Dokument erstellen." ma:contentTypeScope="" ma:versionID="4f15cb04483d8cdde5a31f03fe037d95">
  <xsd:schema xmlns:xsd="http://www.w3.org/2001/XMLSchema" xmlns:xs="http://www.w3.org/2001/XMLSchema" xmlns:p="http://schemas.microsoft.com/office/2006/metadata/properties" xmlns:ns2="31fa4da7-ec37-47f4-9a31-fa58fa1a2f22" targetNamespace="http://schemas.microsoft.com/office/2006/metadata/properties" ma:root="true" ma:fieldsID="9cb0a70540941e5ce692e7bf753c2bc9" ns2:_="">
    <xsd:import namespace="31fa4da7-ec37-47f4-9a31-fa58fa1a2f2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fa4da7-ec37-47f4-9a31-fa58fa1a2f2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55B07D2-2E50-4EF8-86E4-1174F07A1F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1fa4da7-ec37-47f4-9a31-fa58fa1a2f2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3B09ECE-D1C0-42A5-B69E-8C88764DB9F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765F6DA-EDFD-4C3F-B2EB-EDE359E124E2}">
  <ds:schemaRefs>
    <ds:schemaRef ds:uri="http://purl.org/dc/elements/1.1/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85ebd0df-9687-47ef-b5a5-617eb7dd465e"/>
    <ds:schemaRef ds:uri="http://purl.org/dc/dcmitype/"/>
    <ds:schemaRef ds:uri="http://purl.org/dc/terms/"/>
    <ds:schemaRef ds:uri="http://schemas.microsoft.com/office/infopath/2007/PartnerControls"/>
    <ds:schemaRef ds:uri="866c9c41-2c2c-4d95-92e3-745332f54785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31156</TotalTime>
  <Words>3763</Words>
  <Application>Microsoft Office PowerPoint</Application>
  <PresentationFormat>Widescreen</PresentationFormat>
  <Paragraphs>502</Paragraphs>
  <Slides>49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7" baseType="lpstr">
      <vt:lpstr>Arial</vt:lpstr>
      <vt:lpstr>Cambria Math</vt:lpstr>
      <vt:lpstr>Consolas</vt:lpstr>
      <vt:lpstr>Trebuchet MS</vt:lpstr>
      <vt:lpstr>Ubuntu</vt:lpstr>
      <vt:lpstr>Verdana</vt:lpstr>
      <vt:lpstr>Wingdings 3</vt:lpstr>
      <vt:lpstr>Facet</vt:lpstr>
      <vt:lpstr>IBM Data Science Capstone Project</vt:lpstr>
      <vt:lpstr>OUTLINE</vt:lpstr>
      <vt:lpstr>EXECUTIVE SUMMARY</vt:lpstr>
      <vt:lpstr>METHODOLOGY SUMMARY</vt:lpstr>
      <vt:lpstr>METHODOLOGY SUMMARY</vt:lpstr>
      <vt:lpstr> DATA COLLECTION – SPACE X API</vt:lpstr>
      <vt:lpstr>DATA COLLECTION – WEB SCRAPING</vt:lpstr>
      <vt:lpstr>DATA MANIPULATION/WRANGLING – PANDAS</vt:lpstr>
      <vt:lpstr>DATA MANIPULATION/WRANGLING – PANDAS</vt:lpstr>
      <vt:lpstr>Exploratory data analysis (eda) – visualization</vt:lpstr>
      <vt:lpstr>Exploratory data analysis (eda) – sql</vt:lpstr>
      <vt:lpstr>Geospatial analysis – folium</vt:lpstr>
      <vt:lpstr>Interactive dashboard – plotly dash</vt:lpstr>
      <vt:lpstr>Predictive Analysis - Classification</vt:lpstr>
      <vt:lpstr>RESULTS </vt:lpstr>
      <vt:lpstr>EDA - WITH VISUALIZATION</vt:lpstr>
      <vt:lpstr>Launch Site VS. FLIGHT NUMBER</vt:lpstr>
      <vt:lpstr>LAUNCH SITE vs. PAYLOAD MASS</vt:lpstr>
      <vt:lpstr>Success Rate vs. Orbit Type</vt:lpstr>
      <vt:lpstr>Orbit Type vs. flight number</vt:lpstr>
      <vt:lpstr>ORBIT TYPE VS. PAYLOAD MASS</vt:lpstr>
      <vt:lpstr>Launch Success Yearly Trend</vt:lpstr>
      <vt:lpstr>EDA - WITH SQL</vt:lpstr>
      <vt:lpstr>All Launch Site Names</vt:lpstr>
      <vt:lpstr>Launch Site Names Begin with 'CCA'</vt:lpstr>
      <vt:lpstr>Total Payload Mass</vt:lpstr>
      <vt:lpstr>Average Payload Mass by F9 v1.1</vt:lpstr>
      <vt:lpstr>FIRST SUCCESSFUL GROUND LANDING DATE</vt:lpstr>
      <vt:lpstr>Successful Drone Ship Landing with Payload between 4000 and 6000</vt:lpstr>
      <vt:lpstr>Total Number of Successful and Failure Mission Outcomes</vt:lpstr>
      <vt:lpstr>Boosters Carried Maximum Payload</vt:lpstr>
      <vt:lpstr>2015 Launch Records</vt:lpstr>
      <vt:lpstr>Rank Landing Outcomes Between 2010-06-04 and 2017-03-20</vt:lpstr>
      <vt:lpstr>LAUNCH SITES PROXIMITY ANALYSIS – FOLIUM INTERACTIVE MAP</vt:lpstr>
      <vt:lpstr>ALL LAUNCH SITES ON A MAP</vt:lpstr>
      <vt:lpstr>SUCCESS/FAILED LAUNCHES FOR EACH SITE</vt:lpstr>
      <vt:lpstr>PROXIMITY OF LAUNCH SITES TO OTHER POINTS OF INTEREST</vt:lpstr>
      <vt:lpstr>INTERACTIVE DASHBOARD- PLOTLY DASH</vt:lpstr>
      <vt:lpstr>launch success count for all sites</vt:lpstr>
      <vt:lpstr>Pie chart for the launch site with highest launch success ratio</vt:lpstr>
      <vt:lpstr>Launch Outcome VS. Payload scatter plot for all sites</vt:lpstr>
      <vt:lpstr>PREDICTIVE ANALYSIS - CLASSIFICATION</vt:lpstr>
      <vt:lpstr>CLASSIFICATION ACCURACY</vt:lpstr>
      <vt:lpstr>Confusion Matrix</vt:lpstr>
      <vt:lpstr>CONCLUSIONS</vt:lpstr>
      <vt:lpstr>CONCLUSIONS</vt:lpstr>
      <vt:lpstr>APPENDIX</vt:lpstr>
      <vt:lpstr>DATA COLLECTION – space x REST api</vt:lpstr>
      <vt:lpstr>DATA COLLECTION – WEB SCRAPING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subject>Capgemini template</dc:subject>
  <dc:creator>Capgemini</dc:creator>
  <cp:lastModifiedBy>abdellaoui amir</cp:lastModifiedBy>
  <cp:revision>76</cp:revision>
  <cp:lastPrinted>2000-01-01T00:00:00Z</cp:lastPrinted>
  <dcterms:created xsi:type="dcterms:W3CDTF">2022-01-15T17:28:45Z</dcterms:created>
  <dcterms:modified xsi:type="dcterms:W3CDTF">2022-09-22T16:35:23Z</dcterms:modified>
  <cp:category>Enter Data Classific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EE8B34568B7041A5F0B3041B85A64D</vt:lpwstr>
  </property>
</Properties>
</file>